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  <p:sldMasterId id="2147483701" r:id="rId2"/>
  </p:sldMasterIdLst>
  <p:notesMasterIdLst>
    <p:notesMasterId r:id="rId4"/>
  </p:notesMasterIdLst>
  <p:handoutMasterIdLst>
    <p:handoutMasterId r:id="rId5"/>
  </p:handoutMasterIdLst>
  <p:sldIdLst>
    <p:sldId id="354" r:id="rId3"/>
  </p:sldIdLst>
  <p:sldSz cx="9144000" cy="6858000" type="screen4x3"/>
  <p:notesSz cx="6797675" cy="9928225"/>
  <p:embeddedFontLst>
    <p:embeddedFont>
      <p:font typeface="Futura Medium" panose="00000400000000000000" pitchFamily="2" charset="0"/>
      <p:regular r:id="rId6"/>
      <p:bold r:id="rId7"/>
      <p:italic r:id="rId8"/>
      <p:boldItalic r:id="rId9"/>
    </p:embeddedFont>
    <p:embeddedFont>
      <p:font typeface="Arial Unicode MS" panose="020B0604020202020204" pitchFamily="34" charset="-128"/>
      <p:regular r:id="rId10"/>
    </p:embeddedFont>
    <p:embeddedFont>
      <p:font typeface="Cambria" panose="02040503050406030204" pitchFamily="18" charset="0"/>
      <p:regular r:id="rId11"/>
      <p:bold r:id="rId12"/>
      <p:italic r:id="rId13"/>
      <p:boldItalic r:id="rId14"/>
    </p:embeddedFont>
    <p:embeddedFont>
      <p:font typeface="Futura Bold" panose="00000900000000000000" pitchFamily="2" charset="0"/>
      <p:regular r:id="rId15"/>
      <p:boldItalic r:id="rId16"/>
    </p:embeddedFont>
    <p:embeddedFont>
      <p:font typeface="MS PGothic" panose="020B0600070205080204" pitchFamily="34" charset="-128"/>
      <p:regular r:id="rId17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8" pos="2792" userDrawn="1">
          <p15:clr>
            <a:srgbClr val="A4A3A4"/>
          </p15:clr>
        </p15:guide>
        <p15:guide id="9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wandu, Somtochi O SPDC-UPO/G/DNL" initials="NSOS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B6E"/>
    <a:srgbClr val="FFFFFF"/>
    <a:srgbClr val="CCE9DB"/>
    <a:srgbClr val="99CDB7"/>
    <a:srgbClr val="66B492"/>
    <a:srgbClr val="DFD1DE"/>
    <a:srgbClr val="C0A2BD"/>
    <a:srgbClr val="A0749B"/>
    <a:srgbClr val="81457A"/>
    <a:srgbClr val="CCD7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5994" autoAdjust="0"/>
  </p:normalViewPr>
  <p:slideViewPr>
    <p:cSldViewPr snapToGrid="0" showGuides="1">
      <p:cViewPr varScale="1">
        <p:scale>
          <a:sx n="110" d="100"/>
          <a:sy n="110" d="100"/>
        </p:scale>
        <p:origin x="1068" y="108"/>
      </p:cViewPr>
      <p:guideLst>
        <p:guide pos="2792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64" d="100"/>
          <a:sy n="64" d="100"/>
        </p:scale>
        <p:origin x="258" y="7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3.fntdata"/><Relationship Id="rId13" Type="http://schemas.openxmlformats.org/officeDocument/2006/relationships/font" Target="fonts/font8.fntdata"/><Relationship Id="rId18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font" Target="fonts/font2.fntdata"/><Relationship Id="rId12" Type="http://schemas.openxmlformats.org/officeDocument/2006/relationships/font" Target="fonts/font7.fntdata"/><Relationship Id="rId17" Type="http://schemas.openxmlformats.org/officeDocument/2006/relationships/font" Target="fonts/font12.fntdata"/><Relationship Id="rId2" Type="http://schemas.openxmlformats.org/officeDocument/2006/relationships/slideMaster" Target="slideMasters/slideMaster2.xml"/><Relationship Id="rId16" Type="http://schemas.openxmlformats.org/officeDocument/2006/relationships/font" Target="fonts/font11.fntdata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1.fntdata"/><Relationship Id="rId11" Type="http://schemas.openxmlformats.org/officeDocument/2006/relationships/font" Target="fonts/font6.fntdata"/><Relationship Id="rId5" Type="http://schemas.openxmlformats.org/officeDocument/2006/relationships/handoutMaster" Target="handoutMasters/handoutMaster1.xml"/><Relationship Id="rId15" Type="http://schemas.openxmlformats.org/officeDocument/2006/relationships/font" Target="fonts/font10.fntdata"/><Relationship Id="rId23" Type="http://schemas.microsoft.com/office/2015/10/relationships/revisionInfo" Target="revisionInfo.xml"/><Relationship Id="rId10" Type="http://schemas.openxmlformats.org/officeDocument/2006/relationships/font" Target="fonts/font5.fntdata"/><Relationship Id="rId19" Type="http://schemas.openxmlformats.org/officeDocument/2006/relationships/presProps" Target="presProps.xml"/><Relationship Id="rId4" Type="http://schemas.openxmlformats.org/officeDocument/2006/relationships/notesMaster" Target="notesMasters/notesMaster1.xml"/><Relationship Id="rId9" Type="http://schemas.openxmlformats.org/officeDocument/2006/relationships/font" Target="fonts/font4.fntdata"/><Relationship Id="rId14" Type="http://schemas.openxmlformats.org/officeDocument/2006/relationships/font" Target="fonts/font9.fntdata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88C09-A274-4C07-9395-CBE67C0DE912}" type="datetimeFigureOut">
              <a:rPr lang="en-GB" smtClean="0">
                <a:latin typeface="Futura Medium" pitchFamily="2" charset="0"/>
              </a:rPr>
              <a:pPr/>
              <a:t>04/04/2018</a:t>
            </a:fld>
            <a:endParaRPr lang="en-GB" dirty="0">
              <a:latin typeface="Futura Medium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B005D9-1AAC-4E6D-B9B3-BB8CB4FD9D30}" type="slidenum">
              <a:rPr lang="en-GB" smtClean="0">
                <a:latin typeface="Futura Medium" pitchFamily="2" charset="0"/>
              </a:rPr>
              <a:pPr/>
              <a:t>‹#›</a:t>
            </a:fld>
            <a:endParaRPr lang="en-GB" dirty="0">
              <a:latin typeface="Futura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9735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E8910CE4-810D-4C84-B7AD-48C304FEA169}" type="datetimeFigureOut">
              <a:rPr lang="en-GB" smtClean="0"/>
              <a:pPr/>
              <a:t>04/04/2018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DE799493-6412-4470-9830-D005B358D66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28937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Futura Medium" pitchFamily="2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Futura Medium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Futura Medium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Futura Medium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Futura Medium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B9C825-F38E-45BB-92C1-043DE61C9183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13657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 bwMode="gray">
          <a:xfrm>
            <a:off x="1" y="4313786"/>
            <a:ext cx="9144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chemeClr val="tx1"/>
              </a:solidFill>
            </a:endParaRPr>
          </a:p>
        </p:txBody>
      </p:sp>
      <p:pic>
        <p:nvPicPr>
          <p:cNvPr id="22" name="Picture 21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8401" y="961200"/>
            <a:ext cx="6860775" cy="1584000"/>
          </a:xfrm>
          <a:noFill/>
        </p:spPr>
        <p:txBody>
          <a:bodyPr lIns="0" tIns="0" rIns="0"/>
          <a:lstStyle>
            <a:lvl1pPr algn="l" defTabSz="1219121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lang="en-GB" sz="2800" b="0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8401" y="3317926"/>
            <a:ext cx="6860775" cy="748800"/>
          </a:xfrm>
        </p:spPr>
        <p:txBody>
          <a:bodyPr anchor="b" anchorCtr="0"/>
          <a:lstStyle>
            <a:lvl1pPr marL="0" indent="0" algn="l" defTabSz="357694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lang="en-GB" sz="1800" kern="1200" baseline="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8400" y="4585016"/>
            <a:ext cx="5857896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35769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8400" y="4838620"/>
            <a:ext cx="5857896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35769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dirty="0"/>
              <a:t>Click to insert Role in Organisation</a:t>
            </a:r>
          </a:p>
        </p:txBody>
      </p:sp>
      <p:sp>
        <p:nvSpPr>
          <p:cNvPr id="102" name="Text Box 11" descr="&lt;COMPANY_NAME&gt;" title="&lt;COMPANY_NAME&gt;"/>
          <p:cNvSpPr txBox="1">
            <a:spLocks noChangeArrowheads="1"/>
          </p:cNvSpPr>
          <p:nvPr userDrawn="1"/>
        </p:nvSpPr>
        <p:spPr bwMode="auto">
          <a:xfrm>
            <a:off x="507890" y="6478120"/>
            <a:ext cx="2285554" cy="2377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00">
                <a:solidFill>
                  <a:schemeClr val="tx1"/>
                </a:solidFill>
                <a:latin typeface="+mn-lt"/>
                <a:cs typeface="Arial" pitchFamily="34" charset="0"/>
              </a:rPr>
              <a:t>Shell Nigeria</a:t>
            </a:r>
            <a:endParaRPr lang="en-GB" sz="80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77587" y="6478120"/>
            <a:ext cx="26667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3687" y="6478120"/>
            <a:ext cx="108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Date Month 2016</a:t>
            </a:r>
            <a:endParaRPr lang="en-GB" dirty="0"/>
          </a:p>
        </p:txBody>
      </p:sp>
      <p:sp>
        <p:nvSpPr>
          <p:cNvPr id="10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923675" y="6478120"/>
            <a:ext cx="330066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  <p:transition/>
  <p:hf hdr="0" ftr="0" dt="0"/>
  <p:extLst mod="1">
    <p:ext uri="{DCECCB84-F9BA-43D5-87BE-67443E8EF086}">
      <p15:sldGuideLst xmlns:p15="http://schemas.microsoft.com/office/powerpoint/2012/main">
        <p15:guide id="7" pos="111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4829" y="728663"/>
            <a:ext cx="8134349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0" kern="1200" cap="none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914364" rtl="0" eaLnBrk="1" latinLnBrk="0" hangingPunct="1">
              <a:spcBef>
                <a:spcPct val="0"/>
              </a:spcBef>
              <a:buNone/>
            </a:pPr>
            <a:r>
              <a:rPr lang="en-GB" dirty="0"/>
              <a:t>Click to edit Master title style</a:t>
            </a:r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4716465" y="1557341"/>
            <a:ext cx="3922712" cy="469423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 smtClean="0"/>
            </a:lvl5pPr>
            <a:lvl6pPr>
              <a:defRPr lang="en-GB" dirty="0" smtClean="0"/>
            </a:lvl6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4828" y="1557341"/>
            <a:ext cx="3922713" cy="469423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 smtClean="0"/>
            </a:lvl5pPr>
            <a:lvl6pPr>
              <a:defRPr lang="en-GB" dirty="0" smtClean="0"/>
            </a:lvl6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</p:txBody>
      </p:sp>
      <p:sp>
        <p:nvSpPr>
          <p:cNvPr id="9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77587" y="6478120"/>
            <a:ext cx="26667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3687" y="6478120"/>
            <a:ext cx="108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Date Month 2016</a:t>
            </a:r>
            <a:endParaRPr lang="en-GB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923675" y="6478120"/>
            <a:ext cx="330066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  <p:transition/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4826" y="728663"/>
            <a:ext cx="8134350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dirty="0" smtClean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4716463" y="1557341"/>
            <a:ext cx="3922712" cy="469423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1600" dirty="0" smtClean="0"/>
            </a:lvl1pPr>
            <a:lvl2pPr>
              <a:defRPr lang="en-US" sz="1600" dirty="0" smtClean="0"/>
            </a:lvl2pPr>
            <a:lvl3pPr>
              <a:defRPr lang="en-US" sz="1600" dirty="0" smtClean="0"/>
            </a:lvl3pPr>
            <a:lvl4pPr>
              <a:defRPr lang="en-US" sz="1600" dirty="0" smtClean="0"/>
            </a:lvl4pPr>
            <a:lvl5pPr>
              <a:defRPr lang="en-US" sz="1400" dirty="0" smtClean="0"/>
            </a:lvl5pPr>
            <a:lvl6pPr>
              <a:defRPr lang="en-US" sz="1200" dirty="0" smtClean="0"/>
            </a:lvl6pPr>
          </a:lstStyle>
          <a:p>
            <a:pPr lvl="0"/>
            <a:r>
              <a:rPr lang="en-GB" dirty="0"/>
              <a:t>Click to edit Master text styles</a:t>
            </a:r>
          </a:p>
          <a:p>
            <a:pPr marL="215992" lvl="1" indent="-215992"/>
            <a:r>
              <a:rPr lang="en-GB" dirty="0"/>
              <a:t>Second level</a:t>
            </a:r>
          </a:p>
          <a:p>
            <a:pPr marL="410383" lvl="2" indent="-194393"/>
            <a:r>
              <a:rPr lang="en-GB" dirty="0"/>
              <a:t>Third level</a:t>
            </a:r>
          </a:p>
          <a:p>
            <a:pPr marL="575977" lvl="3" indent="-187193"/>
            <a:r>
              <a:rPr lang="en-GB" dirty="0"/>
              <a:t>Fourth level</a:t>
            </a:r>
          </a:p>
          <a:p>
            <a:pPr marL="766769" lvl="4" indent="-154794"/>
            <a:r>
              <a:rPr lang="en-GB" dirty="0"/>
              <a:t>Fifth level</a:t>
            </a:r>
          </a:p>
          <a:p>
            <a:pPr marL="914364" lvl="5" indent="-143994"/>
            <a:r>
              <a:rPr lang="en-GB" dirty="0"/>
              <a:t>Sixth level</a:t>
            </a:r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4825" y="1557341"/>
            <a:ext cx="3922714" cy="469423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1600" dirty="0" smtClean="0"/>
            </a:lvl1pPr>
            <a:lvl2pPr>
              <a:defRPr lang="en-GB" sz="1600" dirty="0" smtClean="0"/>
            </a:lvl2pPr>
            <a:lvl3pPr>
              <a:defRPr lang="en-GB" sz="1600" dirty="0" smtClean="0"/>
            </a:lvl3pPr>
            <a:lvl4pPr>
              <a:defRPr lang="en-GB" sz="1600" dirty="0" smtClean="0"/>
            </a:lvl4pPr>
            <a:lvl5pPr>
              <a:defRPr lang="en-GB" sz="1400" dirty="0" smtClean="0"/>
            </a:lvl5pPr>
            <a:lvl6pPr>
              <a:defRPr lang="en-GB" sz="1200" dirty="0" smtClean="0"/>
            </a:lvl6pPr>
          </a:lstStyle>
          <a:p>
            <a:pPr lvl="0"/>
            <a:r>
              <a:rPr lang="en-GB" dirty="0"/>
              <a:t>Click to edit Master text styles</a:t>
            </a:r>
          </a:p>
          <a:p>
            <a:pPr marL="215992" lvl="1" indent="-215992"/>
            <a:r>
              <a:rPr lang="en-GB" dirty="0"/>
              <a:t>Second level</a:t>
            </a:r>
          </a:p>
          <a:p>
            <a:pPr marL="410383" lvl="2" indent="-194393"/>
            <a:r>
              <a:rPr lang="en-GB" dirty="0"/>
              <a:t>Third level</a:t>
            </a:r>
          </a:p>
          <a:p>
            <a:pPr marL="575977" lvl="3" indent="-187193"/>
            <a:r>
              <a:rPr lang="en-GB" dirty="0"/>
              <a:t>Fourth level</a:t>
            </a:r>
          </a:p>
          <a:p>
            <a:pPr marL="766769" lvl="4" indent="-154794"/>
            <a:r>
              <a:rPr lang="en-GB" dirty="0"/>
              <a:t>Fifth level</a:t>
            </a:r>
          </a:p>
          <a:p>
            <a:pPr marL="914364" lvl="5" indent="-143994"/>
            <a:r>
              <a:rPr lang="en-GB" dirty="0"/>
              <a:t>Sixth level</a:t>
            </a:r>
          </a:p>
        </p:txBody>
      </p:sp>
      <p:sp>
        <p:nvSpPr>
          <p:cNvPr id="9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77587" y="6478120"/>
            <a:ext cx="26667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3687" y="6478120"/>
            <a:ext cx="108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Date Month 2016</a:t>
            </a:r>
            <a:endParaRPr lang="en-GB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923675" y="6478120"/>
            <a:ext cx="330066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  <p:transition/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4003" y="6150325"/>
            <a:ext cx="8118641" cy="147994"/>
          </a:xfrm>
        </p:spPr>
        <p:txBody>
          <a:bodyPr wrap="square">
            <a:noAutofit/>
          </a:bodyPr>
          <a:lstStyle>
            <a:lvl1pPr>
              <a:defRPr sz="7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4828" y="728663"/>
            <a:ext cx="8132199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39" name="Content Placeholder 51"/>
          <p:cNvSpPr>
            <a:spLocks noGrp="1"/>
          </p:cNvSpPr>
          <p:nvPr>
            <p:ph sz="quarter" idx="45" hasCustomPrompt="1"/>
          </p:nvPr>
        </p:nvSpPr>
        <p:spPr>
          <a:xfrm>
            <a:off x="504003" y="4267484"/>
            <a:ext cx="3907003" cy="219740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64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4003" y="3932521"/>
            <a:ext cx="3907003" cy="219740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2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364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 flipV="1">
            <a:off x="504003" y="4209292"/>
            <a:ext cx="3907003" cy="1836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4003" y="4524141"/>
            <a:ext cx="3907003" cy="1606498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endParaRPr lang="nl-NL" dirty="0"/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504003" y="6032737"/>
            <a:ext cx="3907003" cy="3672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51"/>
          <p:cNvSpPr>
            <a:spLocks noGrp="1"/>
          </p:cNvSpPr>
          <p:nvPr>
            <p:ph sz="quarter" idx="54" hasCustomPrompt="1"/>
          </p:nvPr>
        </p:nvSpPr>
        <p:spPr>
          <a:xfrm>
            <a:off x="504003" y="1905336"/>
            <a:ext cx="3907003" cy="219740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64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4003" y="1570373"/>
            <a:ext cx="3907003" cy="219740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2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364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1" name="Straight Connector 100"/>
          <p:cNvCxnSpPr/>
          <p:nvPr userDrawn="1"/>
        </p:nvCxnSpPr>
        <p:spPr>
          <a:xfrm flipV="1">
            <a:off x="504003" y="1847143"/>
            <a:ext cx="3907003" cy="1836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4003" y="2161992"/>
            <a:ext cx="3907003" cy="1606498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endParaRPr lang="nl-NL" dirty="0"/>
          </a:p>
        </p:txBody>
      </p:sp>
      <p:cxnSp>
        <p:nvCxnSpPr>
          <p:cNvPr id="103" name="Straight Connector 102"/>
          <p:cNvCxnSpPr/>
          <p:nvPr userDrawn="1"/>
        </p:nvCxnSpPr>
        <p:spPr>
          <a:xfrm>
            <a:off x="504003" y="3670588"/>
            <a:ext cx="3907003" cy="3672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 Placeholder 51"/>
          <p:cNvSpPr>
            <a:spLocks noGrp="1"/>
          </p:cNvSpPr>
          <p:nvPr>
            <p:ph sz="quarter" idx="57" hasCustomPrompt="1"/>
          </p:nvPr>
        </p:nvSpPr>
        <p:spPr>
          <a:xfrm>
            <a:off x="4715807" y="4267484"/>
            <a:ext cx="3923371" cy="219740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64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4715807" y="3932521"/>
            <a:ext cx="3923371" cy="219740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2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364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06" name="Straight Connector 105"/>
          <p:cNvCxnSpPr/>
          <p:nvPr userDrawn="1"/>
        </p:nvCxnSpPr>
        <p:spPr>
          <a:xfrm flipV="1">
            <a:off x="4715807" y="4209292"/>
            <a:ext cx="3923371" cy="1836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4715807" y="4524141"/>
            <a:ext cx="3923371" cy="1606498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endParaRPr lang="nl-NL" dirty="0"/>
          </a:p>
        </p:txBody>
      </p:sp>
      <p:cxnSp>
        <p:nvCxnSpPr>
          <p:cNvPr id="108" name="Straight Connector 107"/>
          <p:cNvCxnSpPr/>
          <p:nvPr userDrawn="1"/>
        </p:nvCxnSpPr>
        <p:spPr>
          <a:xfrm>
            <a:off x="4715807" y="6032737"/>
            <a:ext cx="3923371" cy="3672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51"/>
          <p:cNvSpPr>
            <a:spLocks noGrp="1"/>
          </p:cNvSpPr>
          <p:nvPr>
            <p:ph sz="quarter" idx="60" hasCustomPrompt="1"/>
          </p:nvPr>
        </p:nvSpPr>
        <p:spPr>
          <a:xfrm>
            <a:off x="4715807" y="1905336"/>
            <a:ext cx="3923371" cy="219740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64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lick to edit Unit of measu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4715807" y="1570373"/>
            <a:ext cx="3923371" cy="219740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sz="1200" kern="1200" cap="none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364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 dirty="0"/>
              <a:t>CHART TITLE APPEARS HERE</a:t>
            </a:r>
          </a:p>
        </p:txBody>
      </p:sp>
      <p:cxnSp>
        <p:nvCxnSpPr>
          <p:cNvPr id="111" name="Straight Connector 110"/>
          <p:cNvCxnSpPr/>
          <p:nvPr userDrawn="1"/>
        </p:nvCxnSpPr>
        <p:spPr>
          <a:xfrm flipV="1">
            <a:off x="4715807" y="1847143"/>
            <a:ext cx="3923371" cy="1836"/>
          </a:xfrm>
          <a:prstGeom prst="line">
            <a:avLst/>
          </a:prstGeom>
          <a:ln w="508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4715807" y="2161992"/>
            <a:ext cx="3923371" cy="1606498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endParaRPr lang="nl-NL" dirty="0"/>
          </a:p>
        </p:txBody>
      </p:sp>
      <p:cxnSp>
        <p:nvCxnSpPr>
          <p:cNvPr id="113" name="Straight Connector 112"/>
          <p:cNvCxnSpPr/>
          <p:nvPr userDrawn="1"/>
        </p:nvCxnSpPr>
        <p:spPr>
          <a:xfrm>
            <a:off x="4715807" y="3670588"/>
            <a:ext cx="3923371" cy="3672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77587" y="6478120"/>
            <a:ext cx="26667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3687" y="6478120"/>
            <a:ext cx="108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Date Month 2016</a:t>
            </a:r>
            <a:endParaRPr lang="en-GB" dirty="0"/>
          </a:p>
        </p:txBody>
      </p:sp>
      <p:sp>
        <p:nvSpPr>
          <p:cNvPr id="3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923675" y="6478120"/>
            <a:ext cx="330066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  <p:transition/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4" y="4313787"/>
            <a:ext cx="9143999" cy="2544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chemeClr val="bg1"/>
              </a:solidFill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1986" y="2638196"/>
            <a:ext cx="3665552" cy="1360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MY" sz="1400" dirty="0"/>
            </a:lvl1pPr>
          </a:lstStyle>
          <a:p>
            <a:pPr lvl="0" defTabSz="1219121">
              <a:lnSpc>
                <a:spcPct val="100000"/>
              </a:lnSpc>
            </a:pPr>
            <a:r>
              <a:rPr lang="en-GB" dirty="0"/>
              <a:t>Click to edit Master title style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1988" y="1699351"/>
            <a:ext cx="7877189" cy="820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800" b="0" cap="none" dirty="0" smtClean="0">
                <a:latin typeface="+mj-lt"/>
              </a:defRPr>
            </a:lvl1pPr>
          </a:lstStyle>
          <a:p>
            <a:pPr lvl="0" defTabSz="357694">
              <a:lnSpc>
                <a:spcPct val="100000"/>
              </a:lnSpc>
            </a:pPr>
            <a:endParaRPr lang="en-GB" dirty="0"/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16463" y="2638699"/>
            <a:ext cx="3912320" cy="22076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95000"/>
              </a:lnSpc>
              <a:defRPr lang="en-GB" sz="16999" kern="10000" spc="-1000" dirty="0">
                <a:ln w="3175">
                  <a:noFill/>
                </a:ln>
                <a:solidFill>
                  <a:schemeClr val="accent1"/>
                </a:solidFill>
                <a:latin typeface="Futura Bold"/>
                <a:ea typeface="Arial" charset="0"/>
                <a:cs typeface="Futura Bold"/>
              </a:defRPr>
            </a:lvl1pPr>
          </a:lstStyle>
          <a:p>
            <a:pPr lvl="0" algn="r" defTabSz="1219121">
              <a:lnSpc>
                <a:spcPct val="100000"/>
              </a:lnSpc>
              <a:buClr>
                <a:srgbClr val="DD1D21"/>
              </a:buClr>
              <a:tabLst>
                <a:tab pos="1081045" algn="l"/>
              </a:tabLst>
            </a:pPr>
            <a:r>
              <a:rPr lang="en-GB" dirty="0"/>
              <a:t>0.0</a:t>
            </a:r>
          </a:p>
        </p:txBody>
      </p:sp>
      <p:sp>
        <p:nvSpPr>
          <p:cNvPr id="12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77587" y="6478120"/>
            <a:ext cx="26667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3687" y="6478120"/>
            <a:ext cx="108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Date Month 2016</a:t>
            </a:r>
            <a:endParaRPr lang="en-GB" dirty="0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923675" y="6478120"/>
            <a:ext cx="330066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0" name="Rectangle 19"/>
          <p:cNvSpPr/>
          <p:nvPr userDrawn="1"/>
        </p:nvSpPr>
        <p:spPr bwMode="gray">
          <a:xfrm>
            <a:off x="761986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22" name="Text Box 11" descr="&lt;COMPANY_NAME&gt;" title="&lt;COMPANY_NAME&gt;"/>
          <p:cNvSpPr txBox="1">
            <a:spLocks noChangeArrowheads="1"/>
          </p:cNvSpPr>
          <p:nvPr userDrawn="1"/>
        </p:nvSpPr>
        <p:spPr bwMode="auto">
          <a:xfrm>
            <a:off x="507890" y="6478120"/>
            <a:ext cx="2285554" cy="2377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00">
                <a:solidFill>
                  <a:schemeClr val="tx1"/>
                </a:solidFill>
                <a:latin typeface="+mn-lt"/>
                <a:cs typeface="Arial" pitchFamily="34" charset="0"/>
              </a:rPr>
              <a:t>Shell Nigeria</a:t>
            </a:r>
            <a:endParaRPr lang="en-GB" sz="80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</p:cSld>
  <p:clrMapOvr>
    <a:masterClrMapping/>
  </p:clrMapOvr>
  <p:transition/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tangle 101"/>
          <p:cNvSpPr/>
          <p:nvPr userDrawn="1"/>
        </p:nvSpPr>
        <p:spPr bwMode="gray">
          <a:xfrm>
            <a:off x="504826" y="3554416"/>
            <a:ext cx="6864351" cy="2797175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31" name="Rectangle 30"/>
          <p:cNvSpPr/>
          <p:nvPr userDrawn="1"/>
        </p:nvSpPr>
        <p:spPr bwMode="gray">
          <a:xfrm>
            <a:off x="750908" y="3829099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chemeClr val="tx1"/>
              </a:solidFill>
            </a:endParaRPr>
          </a:p>
        </p:txBody>
      </p:sp>
      <p:sp>
        <p:nvSpPr>
          <p:cNvPr id="35" name="Picture Placeholder 2"/>
          <p:cNvSpPr>
            <a:spLocks noGrp="1"/>
          </p:cNvSpPr>
          <p:nvPr userDrawn="1">
            <p:ph type="pic" sz="quarter" idx="13"/>
          </p:nvPr>
        </p:nvSpPr>
        <p:spPr bwMode="auto">
          <a:xfrm>
            <a:off x="3" y="1"/>
            <a:ext cx="9150673" cy="4830116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  <a:gd name="connsiteX0" fmla="*/ 241373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41373 w 12194723"/>
              <a:gd name="connsiteY8" fmla="*/ 0 h 4854829"/>
              <a:gd name="connsiteX0" fmla="*/ 2382 w 11955732"/>
              <a:gd name="connsiteY0" fmla="*/ 0 h 4854829"/>
              <a:gd name="connsiteX1" fmla="*/ 11955391 w 11955732"/>
              <a:gd name="connsiteY1" fmla="*/ 0 h 4854829"/>
              <a:gd name="connsiteX2" fmla="*/ 11955391 w 11955732"/>
              <a:gd name="connsiteY2" fmla="*/ 4854636 h 4854829"/>
              <a:gd name="connsiteX3" fmla="*/ 7384257 w 11955732"/>
              <a:gd name="connsiteY3" fmla="*/ 4843680 h 4854829"/>
              <a:gd name="connsiteX4" fmla="*/ 7381442 w 11955732"/>
              <a:gd name="connsiteY4" fmla="*/ 3543300 h 4854829"/>
              <a:gd name="connsiteX5" fmla="*/ 523124 w 11955732"/>
              <a:gd name="connsiteY5" fmla="*/ 3547023 h 4854829"/>
              <a:gd name="connsiteX6" fmla="*/ 523704 w 11955732"/>
              <a:gd name="connsiteY6" fmla="*/ 4850671 h 4854829"/>
              <a:gd name="connsiteX7" fmla="*/ 0 w 11955732"/>
              <a:gd name="connsiteY7" fmla="*/ 4847509 h 4854829"/>
              <a:gd name="connsiteX8" fmla="*/ 2382 w 11955732"/>
              <a:gd name="connsiteY8" fmla="*/ 0 h 4854829"/>
              <a:gd name="connsiteX0" fmla="*/ 2382 w 11960184"/>
              <a:gd name="connsiteY0" fmla="*/ 0 h 4854829"/>
              <a:gd name="connsiteX1" fmla="*/ 11955391 w 11960184"/>
              <a:gd name="connsiteY1" fmla="*/ 0 h 4854829"/>
              <a:gd name="connsiteX2" fmla="*/ 11955391 w 11960184"/>
              <a:gd name="connsiteY2" fmla="*/ 4854636 h 4854829"/>
              <a:gd name="connsiteX3" fmla="*/ 7384257 w 11960184"/>
              <a:gd name="connsiteY3" fmla="*/ 4843680 h 4854829"/>
              <a:gd name="connsiteX4" fmla="*/ 7381442 w 11960184"/>
              <a:gd name="connsiteY4" fmla="*/ 3543300 h 4854829"/>
              <a:gd name="connsiteX5" fmla="*/ 523124 w 11960184"/>
              <a:gd name="connsiteY5" fmla="*/ 3547023 h 4854829"/>
              <a:gd name="connsiteX6" fmla="*/ 523704 w 11960184"/>
              <a:gd name="connsiteY6" fmla="*/ 4850671 h 4854829"/>
              <a:gd name="connsiteX7" fmla="*/ 0 w 11960184"/>
              <a:gd name="connsiteY7" fmla="*/ 4847509 h 4854829"/>
              <a:gd name="connsiteX8" fmla="*/ 2382 w 11960184"/>
              <a:gd name="connsiteY8" fmla="*/ 0 h 4854829"/>
              <a:gd name="connsiteX0" fmla="*/ 2382 w 11975151"/>
              <a:gd name="connsiteY0" fmla="*/ 0 h 5210613"/>
              <a:gd name="connsiteX1" fmla="*/ 9149846 w 11975151"/>
              <a:gd name="connsiteY1" fmla="*/ 0 h 5210613"/>
              <a:gd name="connsiteX2" fmla="*/ 11955391 w 11975151"/>
              <a:gd name="connsiteY2" fmla="*/ 4854636 h 5210613"/>
              <a:gd name="connsiteX3" fmla="*/ 7384257 w 11975151"/>
              <a:gd name="connsiteY3" fmla="*/ 4843680 h 5210613"/>
              <a:gd name="connsiteX4" fmla="*/ 7381442 w 11975151"/>
              <a:gd name="connsiteY4" fmla="*/ 3543300 h 5210613"/>
              <a:gd name="connsiteX5" fmla="*/ 523124 w 11975151"/>
              <a:gd name="connsiteY5" fmla="*/ 3547023 h 5210613"/>
              <a:gd name="connsiteX6" fmla="*/ 523704 w 11975151"/>
              <a:gd name="connsiteY6" fmla="*/ 4850671 h 5210613"/>
              <a:gd name="connsiteX7" fmla="*/ 0 w 11975151"/>
              <a:gd name="connsiteY7" fmla="*/ 4847509 h 5210613"/>
              <a:gd name="connsiteX8" fmla="*/ 2382 w 11975151"/>
              <a:gd name="connsiteY8" fmla="*/ 0 h 5210613"/>
              <a:gd name="connsiteX0" fmla="*/ 2382 w 11955393"/>
              <a:gd name="connsiteY0" fmla="*/ 0 h 4854636"/>
              <a:gd name="connsiteX1" fmla="*/ 9149846 w 11955393"/>
              <a:gd name="connsiteY1" fmla="*/ 0 h 4854636"/>
              <a:gd name="connsiteX2" fmla="*/ 11955391 w 11955393"/>
              <a:gd name="connsiteY2" fmla="*/ 4854636 h 4854636"/>
              <a:gd name="connsiteX3" fmla="*/ 7384257 w 11955393"/>
              <a:gd name="connsiteY3" fmla="*/ 4843680 h 4854636"/>
              <a:gd name="connsiteX4" fmla="*/ 7381442 w 11955393"/>
              <a:gd name="connsiteY4" fmla="*/ 3543300 h 4854636"/>
              <a:gd name="connsiteX5" fmla="*/ 523124 w 11955393"/>
              <a:gd name="connsiteY5" fmla="*/ 3547023 h 4854636"/>
              <a:gd name="connsiteX6" fmla="*/ 523704 w 11955393"/>
              <a:gd name="connsiteY6" fmla="*/ 4850671 h 4854636"/>
              <a:gd name="connsiteX7" fmla="*/ 0 w 11955393"/>
              <a:gd name="connsiteY7" fmla="*/ 4847509 h 4854636"/>
              <a:gd name="connsiteX8" fmla="*/ 2382 w 11955393"/>
              <a:gd name="connsiteY8" fmla="*/ 0 h 4854636"/>
              <a:gd name="connsiteX0" fmla="*/ 2382 w 9685771"/>
              <a:gd name="connsiteY0" fmla="*/ 360370 h 5307510"/>
              <a:gd name="connsiteX1" fmla="*/ 9149846 w 9685771"/>
              <a:gd name="connsiteY1" fmla="*/ 360370 h 5307510"/>
              <a:gd name="connsiteX2" fmla="*/ 8661472 w 9685771"/>
              <a:gd name="connsiteY2" fmla="*/ 5225371 h 5307510"/>
              <a:gd name="connsiteX3" fmla="*/ 7384257 w 9685771"/>
              <a:gd name="connsiteY3" fmla="*/ 5204050 h 5307510"/>
              <a:gd name="connsiteX4" fmla="*/ 7381442 w 9685771"/>
              <a:gd name="connsiteY4" fmla="*/ 3903670 h 5307510"/>
              <a:gd name="connsiteX5" fmla="*/ 523124 w 9685771"/>
              <a:gd name="connsiteY5" fmla="*/ 3907393 h 5307510"/>
              <a:gd name="connsiteX6" fmla="*/ 523704 w 9685771"/>
              <a:gd name="connsiteY6" fmla="*/ 5211041 h 5307510"/>
              <a:gd name="connsiteX7" fmla="*/ 0 w 9685771"/>
              <a:gd name="connsiteY7" fmla="*/ 5207879 h 5307510"/>
              <a:gd name="connsiteX8" fmla="*/ 2382 w 9685771"/>
              <a:gd name="connsiteY8" fmla="*/ 360370 h 5307510"/>
              <a:gd name="connsiteX0" fmla="*/ 2382 w 9151108"/>
              <a:gd name="connsiteY0" fmla="*/ 0 h 4947140"/>
              <a:gd name="connsiteX1" fmla="*/ 9149846 w 9151108"/>
              <a:gd name="connsiteY1" fmla="*/ 0 h 4947140"/>
              <a:gd name="connsiteX2" fmla="*/ 8661472 w 9151108"/>
              <a:gd name="connsiteY2" fmla="*/ 4865001 h 4947140"/>
              <a:gd name="connsiteX3" fmla="*/ 7384257 w 9151108"/>
              <a:gd name="connsiteY3" fmla="*/ 4843680 h 4947140"/>
              <a:gd name="connsiteX4" fmla="*/ 7381442 w 9151108"/>
              <a:gd name="connsiteY4" fmla="*/ 3543300 h 4947140"/>
              <a:gd name="connsiteX5" fmla="*/ 523124 w 9151108"/>
              <a:gd name="connsiteY5" fmla="*/ 3547023 h 4947140"/>
              <a:gd name="connsiteX6" fmla="*/ 523704 w 9151108"/>
              <a:gd name="connsiteY6" fmla="*/ 4850671 h 4947140"/>
              <a:gd name="connsiteX7" fmla="*/ 0 w 9151108"/>
              <a:gd name="connsiteY7" fmla="*/ 4847509 h 4947140"/>
              <a:gd name="connsiteX8" fmla="*/ 2382 w 9151108"/>
              <a:gd name="connsiteY8" fmla="*/ 0 h 4947140"/>
              <a:gd name="connsiteX0" fmla="*/ 2382 w 9828173"/>
              <a:gd name="connsiteY0" fmla="*/ 356531 h 5286738"/>
              <a:gd name="connsiteX1" fmla="*/ 9149846 w 9828173"/>
              <a:gd name="connsiteY1" fmla="*/ 356531 h 5286738"/>
              <a:gd name="connsiteX2" fmla="*/ 9149845 w 9828173"/>
              <a:gd name="connsiteY2" fmla="*/ 5169707 h 5286738"/>
              <a:gd name="connsiteX3" fmla="*/ 7384257 w 9828173"/>
              <a:gd name="connsiteY3" fmla="*/ 5200211 h 5286738"/>
              <a:gd name="connsiteX4" fmla="*/ 7381442 w 9828173"/>
              <a:gd name="connsiteY4" fmla="*/ 3899831 h 5286738"/>
              <a:gd name="connsiteX5" fmla="*/ 523124 w 9828173"/>
              <a:gd name="connsiteY5" fmla="*/ 3903554 h 5286738"/>
              <a:gd name="connsiteX6" fmla="*/ 523704 w 9828173"/>
              <a:gd name="connsiteY6" fmla="*/ 5207202 h 5286738"/>
              <a:gd name="connsiteX7" fmla="*/ 0 w 9828173"/>
              <a:gd name="connsiteY7" fmla="*/ 5204040 h 5286738"/>
              <a:gd name="connsiteX8" fmla="*/ 2382 w 9828173"/>
              <a:gd name="connsiteY8" fmla="*/ 356531 h 5286738"/>
              <a:gd name="connsiteX0" fmla="*/ 2382 w 9154046"/>
              <a:gd name="connsiteY0" fmla="*/ 0 h 4930207"/>
              <a:gd name="connsiteX1" fmla="*/ 9149846 w 9154046"/>
              <a:gd name="connsiteY1" fmla="*/ 0 h 4930207"/>
              <a:gd name="connsiteX2" fmla="*/ 9149845 w 9154046"/>
              <a:gd name="connsiteY2" fmla="*/ 4813176 h 4930207"/>
              <a:gd name="connsiteX3" fmla="*/ 7384257 w 9154046"/>
              <a:gd name="connsiteY3" fmla="*/ 4843680 h 4930207"/>
              <a:gd name="connsiteX4" fmla="*/ 7381442 w 9154046"/>
              <a:gd name="connsiteY4" fmla="*/ 3543300 h 4930207"/>
              <a:gd name="connsiteX5" fmla="*/ 523124 w 9154046"/>
              <a:gd name="connsiteY5" fmla="*/ 3547023 h 4930207"/>
              <a:gd name="connsiteX6" fmla="*/ 523704 w 9154046"/>
              <a:gd name="connsiteY6" fmla="*/ 4850671 h 4930207"/>
              <a:gd name="connsiteX7" fmla="*/ 0 w 9154046"/>
              <a:gd name="connsiteY7" fmla="*/ 4847509 h 4930207"/>
              <a:gd name="connsiteX8" fmla="*/ 2382 w 9154046"/>
              <a:gd name="connsiteY8" fmla="*/ 0 h 4930207"/>
              <a:gd name="connsiteX0" fmla="*/ 2382 w 9154046"/>
              <a:gd name="connsiteY0" fmla="*/ 0 h 4850673"/>
              <a:gd name="connsiteX1" fmla="*/ 9149846 w 9154046"/>
              <a:gd name="connsiteY1" fmla="*/ 0 h 4850673"/>
              <a:gd name="connsiteX2" fmla="*/ 9149845 w 9154046"/>
              <a:gd name="connsiteY2" fmla="*/ 4813176 h 4850673"/>
              <a:gd name="connsiteX3" fmla="*/ 7384257 w 9154046"/>
              <a:gd name="connsiteY3" fmla="*/ 4843680 h 4850673"/>
              <a:gd name="connsiteX4" fmla="*/ 7381442 w 9154046"/>
              <a:gd name="connsiteY4" fmla="*/ 3543300 h 4850673"/>
              <a:gd name="connsiteX5" fmla="*/ 523124 w 9154046"/>
              <a:gd name="connsiteY5" fmla="*/ 3547023 h 4850673"/>
              <a:gd name="connsiteX6" fmla="*/ 523704 w 9154046"/>
              <a:gd name="connsiteY6" fmla="*/ 4850671 h 4850673"/>
              <a:gd name="connsiteX7" fmla="*/ 0 w 9154046"/>
              <a:gd name="connsiteY7" fmla="*/ 4847509 h 4850673"/>
              <a:gd name="connsiteX8" fmla="*/ 2382 w 9154046"/>
              <a:gd name="connsiteY8" fmla="*/ 0 h 4850673"/>
              <a:gd name="connsiteX0" fmla="*/ 2382 w 9282313"/>
              <a:gd name="connsiteY0" fmla="*/ 0 h 5171093"/>
              <a:gd name="connsiteX1" fmla="*/ 9149846 w 9282313"/>
              <a:gd name="connsiteY1" fmla="*/ 0 h 5171093"/>
              <a:gd name="connsiteX2" fmla="*/ 9149845 w 9282313"/>
              <a:gd name="connsiteY2" fmla="*/ 4813176 h 5171093"/>
              <a:gd name="connsiteX3" fmla="*/ 7384257 w 9282313"/>
              <a:gd name="connsiteY3" fmla="*/ 4821343 h 5171093"/>
              <a:gd name="connsiteX4" fmla="*/ 7381442 w 9282313"/>
              <a:gd name="connsiteY4" fmla="*/ 3543300 h 5171093"/>
              <a:gd name="connsiteX5" fmla="*/ 523124 w 9282313"/>
              <a:gd name="connsiteY5" fmla="*/ 3547023 h 5171093"/>
              <a:gd name="connsiteX6" fmla="*/ 523704 w 9282313"/>
              <a:gd name="connsiteY6" fmla="*/ 4850671 h 5171093"/>
              <a:gd name="connsiteX7" fmla="*/ 0 w 9282313"/>
              <a:gd name="connsiteY7" fmla="*/ 4847509 h 5171093"/>
              <a:gd name="connsiteX8" fmla="*/ 2382 w 9282313"/>
              <a:gd name="connsiteY8" fmla="*/ 0 h 5171093"/>
              <a:gd name="connsiteX0" fmla="*/ 2382 w 9282313"/>
              <a:gd name="connsiteY0" fmla="*/ 0 h 5168611"/>
              <a:gd name="connsiteX1" fmla="*/ 9149846 w 9282313"/>
              <a:gd name="connsiteY1" fmla="*/ 0 h 5168611"/>
              <a:gd name="connsiteX2" fmla="*/ 9149845 w 9282313"/>
              <a:gd name="connsiteY2" fmla="*/ 4813176 h 5168611"/>
              <a:gd name="connsiteX3" fmla="*/ 7384257 w 9282313"/>
              <a:gd name="connsiteY3" fmla="*/ 4813896 h 5168611"/>
              <a:gd name="connsiteX4" fmla="*/ 7381442 w 9282313"/>
              <a:gd name="connsiteY4" fmla="*/ 3543300 h 5168611"/>
              <a:gd name="connsiteX5" fmla="*/ 523124 w 9282313"/>
              <a:gd name="connsiteY5" fmla="*/ 3547023 h 5168611"/>
              <a:gd name="connsiteX6" fmla="*/ 523704 w 9282313"/>
              <a:gd name="connsiteY6" fmla="*/ 4850671 h 5168611"/>
              <a:gd name="connsiteX7" fmla="*/ 0 w 9282313"/>
              <a:gd name="connsiteY7" fmla="*/ 4847509 h 5168611"/>
              <a:gd name="connsiteX8" fmla="*/ 2382 w 9282313"/>
              <a:gd name="connsiteY8" fmla="*/ 0 h 5168611"/>
              <a:gd name="connsiteX0" fmla="*/ 2382 w 9153055"/>
              <a:gd name="connsiteY0" fmla="*/ 0 h 4850673"/>
              <a:gd name="connsiteX1" fmla="*/ 9149846 w 9153055"/>
              <a:gd name="connsiteY1" fmla="*/ 0 h 4850673"/>
              <a:gd name="connsiteX2" fmla="*/ 9149845 w 9153055"/>
              <a:gd name="connsiteY2" fmla="*/ 4813176 h 4850673"/>
              <a:gd name="connsiteX3" fmla="*/ 7384257 w 9153055"/>
              <a:gd name="connsiteY3" fmla="*/ 4813896 h 4850673"/>
              <a:gd name="connsiteX4" fmla="*/ 7381442 w 9153055"/>
              <a:gd name="connsiteY4" fmla="*/ 3543300 h 4850673"/>
              <a:gd name="connsiteX5" fmla="*/ 523124 w 9153055"/>
              <a:gd name="connsiteY5" fmla="*/ 3547023 h 4850673"/>
              <a:gd name="connsiteX6" fmla="*/ 523704 w 9153055"/>
              <a:gd name="connsiteY6" fmla="*/ 4850671 h 4850673"/>
              <a:gd name="connsiteX7" fmla="*/ 0 w 9153055"/>
              <a:gd name="connsiteY7" fmla="*/ 4847509 h 4850673"/>
              <a:gd name="connsiteX8" fmla="*/ 2382 w 9153055"/>
              <a:gd name="connsiteY8" fmla="*/ 0 h 4850673"/>
              <a:gd name="connsiteX0" fmla="*/ 2382 w 9153055"/>
              <a:gd name="connsiteY0" fmla="*/ 0 h 4850673"/>
              <a:gd name="connsiteX1" fmla="*/ 9149846 w 9153055"/>
              <a:gd name="connsiteY1" fmla="*/ 0 h 4850673"/>
              <a:gd name="connsiteX2" fmla="*/ 9149845 w 9153055"/>
              <a:gd name="connsiteY2" fmla="*/ 4813176 h 4850673"/>
              <a:gd name="connsiteX3" fmla="*/ 7384257 w 9153055"/>
              <a:gd name="connsiteY3" fmla="*/ 4813896 h 4850673"/>
              <a:gd name="connsiteX4" fmla="*/ 7381442 w 9153055"/>
              <a:gd name="connsiteY4" fmla="*/ 3543300 h 4850673"/>
              <a:gd name="connsiteX5" fmla="*/ 523124 w 9153055"/>
              <a:gd name="connsiteY5" fmla="*/ 3547023 h 4850673"/>
              <a:gd name="connsiteX6" fmla="*/ 523704 w 9153055"/>
              <a:gd name="connsiteY6" fmla="*/ 4850671 h 4850673"/>
              <a:gd name="connsiteX7" fmla="*/ 0 w 9153055"/>
              <a:gd name="connsiteY7" fmla="*/ 4847509 h 4850673"/>
              <a:gd name="connsiteX8" fmla="*/ 2382 w 9153055"/>
              <a:gd name="connsiteY8" fmla="*/ 0 h 4850673"/>
              <a:gd name="connsiteX0" fmla="*/ 2382 w 9153055"/>
              <a:gd name="connsiteY0" fmla="*/ 0 h 4847542"/>
              <a:gd name="connsiteX1" fmla="*/ 9149846 w 9153055"/>
              <a:gd name="connsiteY1" fmla="*/ 0 h 4847542"/>
              <a:gd name="connsiteX2" fmla="*/ 9149845 w 9153055"/>
              <a:gd name="connsiteY2" fmla="*/ 4813176 h 4847542"/>
              <a:gd name="connsiteX3" fmla="*/ 7384257 w 9153055"/>
              <a:gd name="connsiteY3" fmla="*/ 4813896 h 4847542"/>
              <a:gd name="connsiteX4" fmla="*/ 7381442 w 9153055"/>
              <a:gd name="connsiteY4" fmla="*/ 3543300 h 4847542"/>
              <a:gd name="connsiteX5" fmla="*/ 523124 w 9153055"/>
              <a:gd name="connsiteY5" fmla="*/ 3547023 h 4847542"/>
              <a:gd name="connsiteX6" fmla="*/ 517484 w 9153055"/>
              <a:gd name="connsiteY6" fmla="*/ 4825851 h 4847542"/>
              <a:gd name="connsiteX7" fmla="*/ 0 w 9153055"/>
              <a:gd name="connsiteY7" fmla="*/ 4847509 h 4847542"/>
              <a:gd name="connsiteX8" fmla="*/ 2382 w 9153055"/>
              <a:gd name="connsiteY8" fmla="*/ 0 h 4847542"/>
              <a:gd name="connsiteX0" fmla="*/ 2382 w 9153055"/>
              <a:gd name="connsiteY0" fmla="*/ 0 h 4835165"/>
              <a:gd name="connsiteX1" fmla="*/ 9149846 w 9153055"/>
              <a:gd name="connsiteY1" fmla="*/ 0 h 4835165"/>
              <a:gd name="connsiteX2" fmla="*/ 9149845 w 9153055"/>
              <a:gd name="connsiteY2" fmla="*/ 4813176 h 4835165"/>
              <a:gd name="connsiteX3" fmla="*/ 7384257 w 9153055"/>
              <a:gd name="connsiteY3" fmla="*/ 4813896 h 4835165"/>
              <a:gd name="connsiteX4" fmla="*/ 7381442 w 9153055"/>
              <a:gd name="connsiteY4" fmla="*/ 3543300 h 4835165"/>
              <a:gd name="connsiteX5" fmla="*/ 523124 w 9153055"/>
              <a:gd name="connsiteY5" fmla="*/ 3547023 h 4835165"/>
              <a:gd name="connsiteX6" fmla="*/ 517484 w 9153055"/>
              <a:gd name="connsiteY6" fmla="*/ 4825851 h 4835165"/>
              <a:gd name="connsiteX7" fmla="*/ 0 w 9153055"/>
              <a:gd name="connsiteY7" fmla="*/ 4835100 h 4835165"/>
              <a:gd name="connsiteX8" fmla="*/ 2382 w 9153055"/>
              <a:gd name="connsiteY8" fmla="*/ 0 h 4835165"/>
              <a:gd name="connsiteX0" fmla="*/ 2382 w 9153055"/>
              <a:gd name="connsiteY0" fmla="*/ 0 h 4835165"/>
              <a:gd name="connsiteX1" fmla="*/ 9149846 w 9153055"/>
              <a:gd name="connsiteY1" fmla="*/ 0 h 4835165"/>
              <a:gd name="connsiteX2" fmla="*/ 9149845 w 9153055"/>
              <a:gd name="connsiteY2" fmla="*/ 4813176 h 4835165"/>
              <a:gd name="connsiteX3" fmla="*/ 7384257 w 9153055"/>
              <a:gd name="connsiteY3" fmla="*/ 4813896 h 4835165"/>
              <a:gd name="connsiteX4" fmla="*/ 7381442 w 9153055"/>
              <a:gd name="connsiteY4" fmla="*/ 3543300 h 4835165"/>
              <a:gd name="connsiteX5" fmla="*/ 523124 w 9153055"/>
              <a:gd name="connsiteY5" fmla="*/ 3547023 h 4835165"/>
              <a:gd name="connsiteX6" fmla="*/ 517484 w 9153055"/>
              <a:gd name="connsiteY6" fmla="*/ 4825851 h 4835165"/>
              <a:gd name="connsiteX7" fmla="*/ 0 w 9153055"/>
              <a:gd name="connsiteY7" fmla="*/ 4835100 h 4835165"/>
              <a:gd name="connsiteX8" fmla="*/ 2382 w 9153055"/>
              <a:gd name="connsiteY8" fmla="*/ 0 h 4835165"/>
              <a:gd name="connsiteX0" fmla="*/ 0 w 9150673"/>
              <a:gd name="connsiteY0" fmla="*/ 0 h 4825853"/>
              <a:gd name="connsiteX1" fmla="*/ 9147464 w 9150673"/>
              <a:gd name="connsiteY1" fmla="*/ 0 h 4825853"/>
              <a:gd name="connsiteX2" fmla="*/ 9147463 w 9150673"/>
              <a:gd name="connsiteY2" fmla="*/ 4813176 h 4825853"/>
              <a:gd name="connsiteX3" fmla="*/ 7381875 w 9150673"/>
              <a:gd name="connsiteY3" fmla="*/ 4813896 h 4825853"/>
              <a:gd name="connsiteX4" fmla="*/ 7379060 w 9150673"/>
              <a:gd name="connsiteY4" fmla="*/ 3543300 h 4825853"/>
              <a:gd name="connsiteX5" fmla="*/ 520742 w 9150673"/>
              <a:gd name="connsiteY5" fmla="*/ 3547023 h 4825853"/>
              <a:gd name="connsiteX6" fmla="*/ 515102 w 9150673"/>
              <a:gd name="connsiteY6" fmla="*/ 4825851 h 4825853"/>
              <a:gd name="connsiteX7" fmla="*/ 2770 w 9150673"/>
              <a:gd name="connsiteY7" fmla="*/ 4817115 h 4825853"/>
              <a:gd name="connsiteX8" fmla="*/ 0 w 9150673"/>
              <a:gd name="connsiteY8" fmla="*/ 0 h 4825853"/>
              <a:gd name="connsiteX0" fmla="*/ 0 w 9150673"/>
              <a:gd name="connsiteY0" fmla="*/ 0 h 4818145"/>
              <a:gd name="connsiteX1" fmla="*/ 9147464 w 9150673"/>
              <a:gd name="connsiteY1" fmla="*/ 0 h 4818145"/>
              <a:gd name="connsiteX2" fmla="*/ 9147463 w 9150673"/>
              <a:gd name="connsiteY2" fmla="*/ 4813176 h 4818145"/>
              <a:gd name="connsiteX3" fmla="*/ 7381875 w 9150673"/>
              <a:gd name="connsiteY3" fmla="*/ 4813896 h 4818145"/>
              <a:gd name="connsiteX4" fmla="*/ 7379060 w 9150673"/>
              <a:gd name="connsiteY4" fmla="*/ 3543300 h 4818145"/>
              <a:gd name="connsiteX5" fmla="*/ 520742 w 9150673"/>
              <a:gd name="connsiteY5" fmla="*/ 3547023 h 4818145"/>
              <a:gd name="connsiteX6" fmla="*/ 515102 w 9150673"/>
              <a:gd name="connsiteY6" fmla="*/ 4818143 h 4818145"/>
              <a:gd name="connsiteX7" fmla="*/ 2770 w 9150673"/>
              <a:gd name="connsiteY7" fmla="*/ 4817115 h 4818145"/>
              <a:gd name="connsiteX8" fmla="*/ 0 w 9150673"/>
              <a:gd name="connsiteY8" fmla="*/ 0 h 4818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50673" h="4818145">
                <a:moveTo>
                  <a:pt x="0" y="0"/>
                </a:moveTo>
                <a:lnTo>
                  <a:pt x="9147464" y="0"/>
                </a:lnTo>
                <a:cubicBezTo>
                  <a:pt x="9154968" y="4079"/>
                  <a:pt x="9146880" y="4807581"/>
                  <a:pt x="9147463" y="4813176"/>
                </a:cubicBezTo>
                <a:cubicBezTo>
                  <a:pt x="9148046" y="4818771"/>
                  <a:pt x="7385663" y="4807873"/>
                  <a:pt x="7381875" y="4813896"/>
                </a:cubicBezTo>
                <a:cubicBezTo>
                  <a:pt x="7378087" y="4819919"/>
                  <a:pt x="7380515" y="3538511"/>
                  <a:pt x="7379060" y="3543300"/>
                </a:cubicBezTo>
                <a:cubicBezTo>
                  <a:pt x="7377605" y="3548089"/>
                  <a:pt x="2806848" y="3545782"/>
                  <a:pt x="520742" y="3547023"/>
                </a:cubicBezTo>
                <a:cubicBezTo>
                  <a:pt x="519025" y="3777370"/>
                  <a:pt x="515915" y="4819927"/>
                  <a:pt x="515102" y="4818143"/>
                </a:cubicBezTo>
                <a:cubicBezTo>
                  <a:pt x="514289" y="4816359"/>
                  <a:pt x="257002" y="4818169"/>
                  <a:pt x="2770" y="4817115"/>
                </a:cubicBezTo>
                <a:cubicBezTo>
                  <a:pt x="1847" y="3211410"/>
                  <a:pt x="923" y="1605705"/>
                  <a:pt x="0" y="0"/>
                </a:cubicBez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2"/>
            </a:lvl1pPr>
          </a:lstStyle>
          <a:p>
            <a:endParaRPr lang="en-GB" dirty="0"/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755650" y="4027624"/>
            <a:ext cx="6362700" cy="864000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pc="0" dirty="0">
                <a:cs typeface="Arial" pitchFamily="34" charset="0"/>
              </a:defRPr>
            </a:lvl1pPr>
          </a:lstStyle>
          <a:p>
            <a:pPr lvl="0" defTabSz="1219121">
              <a:lnSpc>
                <a:spcPct val="100000"/>
              </a:lnSpc>
            </a:pPr>
            <a:r>
              <a:rPr lang="en-GB" dirty="0"/>
              <a:t>Click to edit Master title style</a:t>
            </a:r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755650" y="5096738"/>
            <a:ext cx="6362700" cy="770400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1400" dirty="0"/>
            </a:lvl1pPr>
          </a:lstStyle>
          <a:p>
            <a:pPr lvl="0" defTabSz="357694">
              <a:lnSpc>
                <a:spcPct val="90000"/>
              </a:lnSpc>
              <a:spcBef>
                <a:spcPct val="0"/>
              </a:spcBef>
            </a:pPr>
            <a:r>
              <a:rPr lang="en-GB" dirty="0"/>
              <a:t>Click to edit Master subtitle style</a:t>
            </a:r>
          </a:p>
        </p:txBody>
      </p:sp>
      <p:sp>
        <p:nvSpPr>
          <p:cNvPr id="98" name="Text Box 11" descr="&lt;COMPANY_NAME&gt;" title="&lt;COMPANY_NAME&gt;"/>
          <p:cNvSpPr txBox="1">
            <a:spLocks noChangeArrowheads="1"/>
          </p:cNvSpPr>
          <p:nvPr userDrawn="1"/>
        </p:nvSpPr>
        <p:spPr bwMode="auto">
          <a:xfrm>
            <a:off x="507890" y="6478120"/>
            <a:ext cx="2285554" cy="2377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00">
                <a:solidFill>
                  <a:schemeClr val="tx1"/>
                </a:solidFill>
                <a:latin typeface="+mn-lt"/>
                <a:cs typeface="Arial" pitchFamily="34" charset="0"/>
              </a:rPr>
              <a:t>Shell Nigeria</a:t>
            </a:r>
            <a:endParaRPr lang="en-GB" sz="80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99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77587" y="6478120"/>
            <a:ext cx="26667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3687" y="6478120"/>
            <a:ext cx="108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Date Month 2016</a:t>
            </a:r>
            <a:endParaRPr lang="en-GB" dirty="0"/>
          </a:p>
        </p:txBody>
      </p:sp>
      <p:sp>
        <p:nvSpPr>
          <p:cNvPr id="10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923675" y="6478120"/>
            <a:ext cx="330066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3531327"/>
      </p:ext>
    </p:extLst>
  </p:cSld>
  <p:clrMapOvr>
    <a:masterClrMapping/>
  </p:clrMapOvr>
  <p:transition/>
  <p:hf hdr="0" ftr="0" dt="0"/>
  <p:extLst mod="1">
    <p:ext uri="{DCECCB84-F9BA-43D5-87BE-67443E8EF086}">
      <p15:sldGuideLst xmlns:p15="http://schemas.microsoft.com/office/powerpoint/2012/main">
        <p15:guide id="4" pos="4484" userDrawn="1">
          <p15:clr>
            <a:srgbClr val="FBAE40"/>
          </p15:clr>
        </p15:guide>
        <p15:guide id="0" pos="476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4825" y="728663"/>
            <a:ext cx="8134350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dirty="0" smtClean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77587" y="6478120"/>
            <a:ext cx="26667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3687" y="6478120"/>
            <a:ext cx="108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Date Month 2016</a:t>
            </a:r>
            <a:endParaRPr lang="en-GB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923675" y="6478120"/>
            <a:ext cx="330066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  <p:transition/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4826" y="728663"/>
            <a:ext cx="8134350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dirty="0" smtClean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Slide Number Placeholder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77587" y="6478120"/>
            <a:ext cx="26667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3687" y="6478120"/>
            <a:ext cx="108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Date Month 2016</a:t>
            </a:r>
            <a:endParaRPr lang="en-GB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923675" y="6478120"/>
            <a:ext cx="330066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  <p:transition/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3" y="0"/>
            <a:ext cx="9145787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1600"/>
            </a:lvl1pPr>
          </a:lstStyle>
          <a:p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04825" y="1492273"/>
            <a:ext cx="8134350" cy="2861742"/>
          </a:xfrm>
        </p:spPr>
        <p:txBody>
          <a:bodyPr/>
          <a:lstStyle>
            <a:lvl1pPr>
              <a:lnSpc>
                <a:spcPct val="110000"/>
              </a:lnSpc>
              <a:defRPr lang="en-US" sz="3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7" name="Slide Number Placeholder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77587" y="6478120"/>
            <a:ext cx="26667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3687" y="6478120"/>
            <a:ext cx="108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Date Month 2016</a:t>
            </a:r>
            <a:endParaRPr lang="en-GB" dirty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923675" y="6478120"/>
            <a:ext cx="330066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8818406"/>
      </p:ext>
    </p:extLst>
  </p:cSld>
  <p:clrMapOvr>
    <a:masterClrMapping/>
  </p:clrMapOvr>
  <p:transition/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4" y="4313784"/>
            <a:ext cx="9143999" cy="25442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chemeClr val="bg1"/>
              </a:solidFill>
            </a:endParaRPr>
          </a:p>
        </p:txBody>
      </p:sp>
      <p:grpSp>
        <p:nvGrpSpPr>
          <p:cNvPr id="25" name="Group 24"/>
          <p:cNvGrpSpPr/>
          <p:nvPr userDrawn="1"/>
        </p:nvGrpSpPr>
        <p:grpSpPr bwMode="gray">
          <a:xfrm>
            <a:off x="4427538" y="2831548"/>
            <a:ext cx="4268070" cy="1633939"/>
            <a:chOff x="6450013" y="2557463"/>
            <a:chExt cx="5197475" cy="1917700"/>
          </a:xfrm>
        </p:grpSpPr>
        <p:sp>
          <p:nvSpPr>
            <p:cNvPr id="26" name="Freeform 6"/>
            <p:cNvSpPr>
              <a:spLocks noEditPoints="1"/>
            </p:cNvSpPr>
            <p:nvPr userDrawn="1"/>
          </p:nvSpPr>
          <p:spPr bwMode="gray">
            <a:xfrm>
              <a:off x="6450013" y="2557463"/>
              <a:ext cx="2005013" cy="1917700"/>
            </a:xfrm>
            <a:custGeom>
              <a:avLst/>
              <a:gdLst>
                <a:gd name="T0" fmla="*/ 274 w 346"/>
                <a:gd name="T1" fmla="*/ 331 h 331"/>
                <a:gd name="T2" fmla="*/ 250 w 346"/>
                <a:gd name="T3" fmla="*/ 302 h 331"/>
                <a:gd name="T4" fmla="*/ 167 w 346"/>
                <a:gd name="T5" fmla="*/ 322 h 331"/>
                <a:gd name="T6" fmla="*/ 0 w 346"/>
                <a:gd name="T7" fmla="*/ 156 h 331"/>
                <a:gd name="T8" fmla="*/ 167 w 346"/>
                <a:gd name="T9" fmla="*/ 0 h 331"/>
                <a:gd name="T10" fmla="*/ 334 w 346"/>
                <a:gd name="T11" fmla="*/ 162 h 331"/>
                <a:gd name="T12" fmla="*/ 295 w 346"/>
                <a:gd name="T13" fmla="*/ 268 h 331"/>
                <a:gd name="T14" fmla="*/ 346 w 346"/>
                <a:gd name="T15" fmla="*/ 320 h 331"/>
                <a:gd name="T16" fmla="*/ 274 w 346"/>
                <a:gd name="T17" fmla="*/ 331 h 331"/>
                <a:gd name="T18" fmla="*/ 238 w 346"/>
                <a:gd name="T19" fmla="*/ 207 h 331"/>
                <a:gd name="T20" fmla="*/ 252 w 346"/>
                <a:gd name="T21" fmla="*/ 162 h 331"/>
                <a:gd name="T22" fmla="*/ 167 w 346"/>
                <a:gd name="T23" fmla="*/ 76 h 331"/>
                <a:gd name="T24" fmla="*/ 82 w 346"/>
                <a:gd name="T25" fmla="*/ 156 h 331"/>
                <a:gd name="T26" fmla="*/ 167 w 346"/>
                <a:gd name="T27" fmla="*/ 246 h 331"/>
                <a:gd name="T28" fmla="*/ 191 w 346"/>
                <a:gd name="T29" fmla="*/ 242 h 331"/>
                <a:gd name="T30" fmla="*/ 143 w 346"/>
                <a:gd name="T31" fmla="*/ 194 h 331"/>
                <a:gd name="T32" fmla="*/ 217 w 346"/>
                <a:gd name="T33" fmla="*/ 185 h 331"/>
                <a:gd name="T34" fmla="*/ 238 w 346"/>
                <a:gd name="T35" fmla="*/ 20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6" h="331">
                  <a:moveTo>
                    <a:pt x="274" y="331"/>
                  </a:moveTo>
                  <a:cubicBezTo>
                    <a:pt x="250" y="302"/>
                    <a:pt x="250" y="302"/>
                    <a:pt x="250" y="302"/>
                  </a:cubicBezTo>
                  <a:cubicBezTo>
                    <a:pt x="227" y="316"/>
                    <a:pt x="199" y="322"/>
                    <a:pt x="167" y="322"/>
                  </a:cubicBezTo>
                  <a:cubicBezTo>
                    <a:pt x="70" y="322"/>
                    <a:pt x="0" y="253"/>
                    <a:pt x="0" y="156"/>
                  </a:cubicBezTo>
                  <a:cubicBezTo>
                    <a:pt x="0" y="64"/>
                    <a:pt x="80" y="0"/>
                    <a:pt x="167" y="0"/>
                  </a:cubicBezTo>
                  <a:cubicBezTo>
                    <a:pt x="261" y="0"/>
                    <a:pt x="334" y="64"/>
                    <a:pt x="334" y="162"/>
                  </a:cubicBezTo>
                  <a:cubicBezTo>
                    <a:pt x="334" y="202"/>
                    <a:pt x="320" y="237"/>
                    <a:pt x="295" y="268"/>
                  </a:cubicBezTo>
                  <a:cubicBezTo>
                    <a:pt x="346" y="320"/>
                    <a:pt x="346" y="320"/>
                    <a:pt x="346" y="320"/>
                  </a:cubicBezTo>
                  <a:lnTo>
                    <a:pt x="274" y="331"/>
                  </a:lnTo>
                  <a:close/>
                  <a:moveTo>
                    <a:pt x="238" y="207"/>
                  </a:moveTo>
                  <a:cubicBezTo>
                    <a:pt x="247" y="194"/>
                    <a:pt x="252" y="178"/>
                    <a:pt x="252" y="162"/>
                  </a:cubicBezTo>
                  <a:cubicBezTo>
                    <a:pt x="252" y="117"/>
                    <a:pt x="215" y="76"/>
                    <a:pt x="167" y="76"/>
                  </a:cubicBezTo>
                  <a:cubicBezTo>
                    <a:pt x="121" y="76"/>
                    <a:pt x="82" y="114"/>
                    <a:pt x="82" y="156"/>
                  </a:cubicBezTo>
                  <a:cubicBezTo>
                    <a:pt x="82" y="208"/>
                    <a:pt x="121" y="246"/>
                    <a:pt x="167" y="246"/>
                  </a:cubicBezTo>
                  <a:cubicBezTo>
                    <a:pt x="175" y="246"/>
                    <a:pt x="183" y="245"/>
                    <a:pt x="191" y="242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217" y="185"/>
                    <a:pt x="217" y="185"/>
                    <a:pt x="217" y="185"/>
                  </a:cubicBezTo>
                  <a:lnTo>
                    <a:pt x="238" y="2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  <p:sp>
          <p:nvSpPr>
            <p:cNvPr id="27" name="Freeform 7"/>
            <p:cNvSpPr>
              <a:spLocks noEditPoints="1"/>
            </p:cNvSpPr>
            <p:nvPr userDrawn="1"/>
          </p:nvSpPr>
          <p:spPr bwMode="gray">
            <a:xfrm>
              <a:off x="8426451" y="2586038"/>
              <a:ext cx="1441450" cy="1814513"/>
            </a:xfrm>
            <a:custGeom>
              <a:avLst/>
              <a:gdLst>
                <a:gd name="T0" fmla="*/ 190 w 249"/>
                <a:gd name="T1" fmla="*/ 257 h 313"/>
                <a:gd name="T2" fmla="*/ 79 w 249"/>
                <a:gd name="T3" fmla="*/ 313 h 313"/>
                <a:gd name="T4" fmla="*/ 0 w 249"/>
                <a:gd name="T5" fmla="*/ 233 h 313"/>
                <a:gd name="T6" fmla="*/ 92 w 249"/>
                <a:gd name="T7" fmla="*/ 124 h 313"/>
                <a:gd name="T8" fmla="*/ 60 w 249"/>
                <a:gd name="T9" fmla="*/ 58 h 313"/>
                <a:gd name="T10" fmla="*/ 119 w 249"/>
                <a:gd name="T11" fmla="*/ 0 h 313"/>
                <a:gd name="T12" fmla="*/ 174 w 249"/>
                <a:gd name="T13" fmla="*/ 56 h 313"/>
                <a:gd name="T14" fmla="*/ 117 w 249"/>
                <a:gd name="T15" fmla="*/ 130 h 313"/>
                <a:gd name="T16" fmla="*/ 192 w 249"/>
                <a:gd name="T17" fmla="*/ 232 h 313"/>
                <a:gd name="T18" fmla="*/ 230 w 249"/>
                <a:gd name="T19" fmla="*/ 190 h 313"/>
                <a:gd name="T20" fmla="*/ 245 w 249"/>
                <a:gd name="T21" fmla="*/ 198 h 313"/>
                <a:gd name="T22" fmla="*/ 203 w 249"/>
                <a:gd name="T23" fmla="*/ 246 h 313"/>
                <a:gd name="T24" fmla="*/ 249 w 249"/>
                <a:gd name="T25" fmla="*/ 307 h 313"/>
                <a:gd name="T26" fmla="*/ 228 w 249"/>
                <a:gd name="T27" fmla="*/ 307 h 313"/>
                <a:gd name="T28" fmla="*/ 190 w 249"/>
                <a:gd name="T29" fmla="*/ 257 h 313"/>
                <a:gd name="T30" fmla="*/ 84 w 249"/>
                <a:gd name="T31" fmla="*/ 152 h 313"/>
                <a:gd name="T32" fmla="*/ 19 w 249"/>
                <a:gd name="T33" fmla="*/ 231 h 313"/>
                <a:gd name="T34" fmla="*/ 79 w 249"/>
                <a:gd name="T35" fmla="*/ 295 h 313"/>
                <a:gd name="T36" fmla="*/ 179 w 249"/>
                <a:gd name="T37" fmla="*/ 242 h 313"/>
                <a:gd name="T38" fmla="*/ 103 w 249"/>
                <a:gd name="T39" fmla="*/ 139 h 313"/>
                <a:gd name="T40" fmla="*/ 84 w 249"/>
                <a:gd name="T41" fmla="*/ 152 h 313"/>
                <a:gd name="T42" fmla="*/ 79 w 249"/>
                <a:gd name="T43" fmla="*/ 60 h 313"/>
                <a:gd name="T44" fmla="*/ 106 w 249"/>
                <a:gd name="T45" fmla="*/ 115 h 313"/>
                <a:gd name="T46" fmla="*/ 154 w 249"/>
                <a:gd name="T47" fmla="*/ 55 h 313"/>
                <a:gd name="T48" fmla="*/ 118 w 249"/>
                <a:gd name="T49" fmla="*/ 18 h 313"/>
                <a:gd name="T50" fmla="*/ 79 w 249"/>
                <a:gd name="T51" fmla="*/ 6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9" h="313">
                  <a:moveTo>
                    <a:pt x="190" y="257"/>
                  </a:moveTo>
                  <a:cubicBezTo>
                    <a:pt x="156" y="285"/>
                    <a:pt x="118" y="313"/>
                    <a:pt x="79" y="313"/>
                  </a:cubicBezTo>
                  <a:cubicBezTo>
                    <a:pt x="34" y="313"/>
                    <a:pt x="0" y="277"/>
                    <a:pt x="0" y="233"/>
                  </a:cubicBezTo>
                  <a:cubicBezTo>
                    <a:pt x="0" y="181"/>
                    <a:pt x="50" y="150"/>
                    <a:pt x="92" y="124"/>
                  </a:cubicBezTo>
                  <a:cubicBezTo>
                    <a:pt x="78" y="104"/>
                    <a:pt x="60" y="84"/>
                    <a:pt x="60" y="58"/>
                  </a:cubicBezTo>
                  <a:cubicBezTo>
                    <a:pt x="60" y="26"/>
                    <a:pt x="87" y="0"/>
                    <a:pt x="119" y="0"/>
                  </a:cubicBezTo>
                  <a:cubicBezTo>
                    <a:pt x="150" y="0"/>
                    <a:pt x="174" y="25"/>
                    <a:pt x="174" y="56"/>
                  </a:cubicBezTo>
                  <a:cubicBezTo>
                    <a:pt x="174" y="90"/>
                    <a:pt x="146" y="110"/>
                    <a:pt x="117" y="130"/>
                  </a:cubicBezTo>
                  <a:cubicBezTo>
                    <a:pt x="192" y="232"/>
                    <a:pt x="192" y="232"/>
                    <a:pt x="192" y="232"/>
                  </a:cubicBezTo>
                  <a:cubicBezTo>
                    <a:pt x="230" y="190"/>
                    <a:pt x="230" y="190"/>
                    <a:pt x="230" y="190"/>
                  </a:cubicBezTo>
                  <a:cubicBezTo>
                    <a:pt x="245" y="198"/>
                    <a:pt x="245" y="198"/>
                    <a:pt x="245" y="198"/>
                  </a:cubicBezTo>
                  <a:cubicBezTo>
                    <a:pt x="203" y="246"/>
                    <a:pt x="203" y="246"/>
                    <a:pt x="203" y="246"/>
                  </a:cubicBezTo>
                  <a:cubicBezTo>
                    <a:pt x="249" y="307"/>
                    <a:pt x="249" y="307"/>
                    <a:pt x="249" y="307"/>
                  </a:cubicBezTo>
                  <a:cubicBezTo>
                    <a:pt x="228" y="307"/>
                    <a:pt x="228" y="307"/>
                    <a:pt x="228" y="307"/>
                  </a:cubicBezTo>
                  <a:lnTo>
                    <a:pt x="190" y="257"/>
                  </a:lnTo>
                  <a:close/>
                  <a:moveTo>
                    <a:pt x="84" y="152"/>
                  </a:moveTo>
                  <a:cubicBezTo>
                    <a:pt x="55" y="170"/>
                    <a:pt x="19" y="193"/>
                    <a:pt x="19" y="231"/>
                  </a:cubicBezTo>
                  <a:cubicBezTo>
                    <a:pt x="19" y="265"/>
                    <a:pt x="44" y="295"/>
                    <a:pt x="79" y="295"/>
                  </a:cubicBezTo>
                  <a:cubicBezTo>
                    <a:pt x="114" y="295"/>
                    <a:pt x="151" y="265"/>
                    <a:pt x="179" y="242"/>
                  </a:cubicBezTo>
                  <a:cubicBezTo>
                    <a:pt x="103" y="139"/>
                    <a:pt x="103" y="139"/>
                    <a:pt x="103" y="139"/>
                  </a:cubicBezTo>
                  <a:lnTo>
                    <a:pt x="84" y="152"/>
                  </a:lnTo>
                  <a:close/>
                  <a:moveTo>
                    <a:pt x="79" y="60"/>
                  </a:moveTo>
                  <a:cubicBezTo>
                    <a:pt x="79" y="81"/>
                    <a:pt x="95" y="97"/>
                    <a:pt x="106" y="115"/>
                  </a:cubicBezTo>
                  <a:cubicBezTo>
                    <a:pt x="127" y="99"/>
                    <a:pt x="154" y="86"/>
                    <a:pt x="154" y="55"/>
                  </a:cubicBezTo>
                  <a:cubicBezTo>
                    <a:pt x="154" y="35"/>
                    <a:pt x="138" y="18"/>
                    <a:pt x="118" y="18"/>
                  </a:cubicBezTo>
                  <a:cubicBezTo>
                    <a:pt x="96" y="18"/>
                    <a:pt x="79" y="39"/>
                    <a:pt x="79" y="6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  <p:sp>
          <p:nvSpPr>
            <p:cNvPr id="28" name="Freeform 8"/>
            <p:cNvSpPr>
              <a:spLocks noEditPoints="1"/>
            </p:cNvSpPr>
            <p:nvPr userDrawn="1"/>
          </p:nvSpPr>
          <p:spPr bwMode="gray">
            <a:xfrm>
              <a:off x="9821863" y="2614613"/>
              <a:ext cx="1825625" cy="1751013"/>
            </a:xfrm>
            <a:custGeom>
              <a:avLst/>
              <a:gdLst>
                <a:gd name="T0" fmla="*/ 380 w 1150"/>
                <a:gd name="T1" fmla="*/ 913 h 1103"/>
                <a:gd name="T2" fmla="*/ 303 w 1150"/>
                <a:gd name="T3" fmla="*/ 1103 h 1103"/>
                <a:gd name="T4" fmla="*/ 0 w 1150"/>
                <a:gd name="T5" fmla="*/ 1103 h 1103"/>
                <a:gd name="T6" fmla="*/ 424 w 1150"/>
                <a:gd name="T7" fmla="*/ 0 h 1103"/>
                <a:gd name="T8" fmla="*/ 734 w 1150"/>
                <a:gd name="T9" fmla="*/ 0 h 1103"/>
                <a:gd name="T10" fmla="*/ 1150 w 1150"/>
                <a:gd name="T11" fmla="*/ 1103 h 1103"/>
                <a:gd name="T12" fmla="*/ 843 w 1150"/>
                <a:gd name="T13" fmla="*/ 1103 h 1103"/>
                <a:gd name="T14" fmla="*/ 774 w 1150"/>
                <a:gd name="T15" fmla="*/ 913 h 1103"/>
                <a:gd name="T16" fmla="*/ 380 w 1150"/>
                <a:gd name="T17" fmla="*/ 913 h 1103"/>
                <a:gd name="T18" fmla="*/ 581 w 1150"/>
                <a:gd name="T19" fmla="*/ 344 h 1103"/>
                <a:gd name="T20" fmla="*/ 577 w 1150"/>
                <a:gd name="T21" fmla="*/ 344 h 1103"/>
                <a:gd name="T22" fmla="*/ 456 w 1150"/>
                <a:gd name="T23" fmla="*/ 694 h 1103"/>
                <a:gd name="T24" fmla="*/ 697 w 1150"/>
                <a:gd name="T25" fmla="*/ 694 h 1103"/>
                <a:gd name="T26" fmla="*/ 581 w 1150"/>
                <a:gd name="T27" fmla="*/ 344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50" h="1103">
                  <a:moveTo>
                    <a:pt x="380" y="913"/>
                  </a:moveTo>
                  <a:lnTo>
                    <a:pt x="303" y="1103"/>
                  </a:lnTo>
                  <a:lnTo>
                    <a:pt x="0" y="1103"/>
                  </a:lnTo>
                  <a:lnTo>
                    <a:pt x="424" y="0"/>
                  </a:lnTo>
                  <a:lnTo>
                    <a:pt x="734" y="0"/>
                  </a:lnTo>
                  <a:lnTo>
                    <a:pt x="1150" y="1103"/>
                  </a:lnTo>
                  <a:lnTo>
                    <a:pt x="843" y="1103"/>
                  </a:lnTo>
                  <a:lnTo>
                    <a:pt x="774" y="913"/>
                  </a:lnTo>
                  <a:lnTo>
                    <a:pt x="380" y="913"/>
                  </a:lnTo>
                  <a:close/>
                  <a:moveTo>
                    <a:pt x="581" y="344"/>
                  </a:moveTo>
                  <a:lnTo>
                    <a:pt x="577" y="344"/>
                  </a:lnTo>
                  <a:lnTo>
                    <a:pt x="456" y="694"/>
                  </a:lnTo>
                  <a:lnTo>
                    <a:pt x="697" y="694"/>
                  </a:lnTo>
                  <a:lnTo>
                    <a:pt x="581" y="3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</p:grpSp>
      <p:sp>
        <p:nvSpPr>
          <p:cNvPr id="3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761986" y="1711398"/>
            <a:ext cx="7870248" cy="81359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GB" sz="2800" b="0" cap="none" baseline="0" dirty="0">
                <a:latin typeface="+mj-lt"/>
              </a:defRPr>
            </a:lvl1pPr>
          </a:lstStyle>
          <a:p>
            <a:pPr lvl="0" defTabSz="357694">
              <a:lnSpc>
                <a:spcPct val="100000"/>
              </a:lnSpc>
            </a:pPr>
            <a:r>
              <a:rPr lang="en-GB" dirty="0"/>
              <a:t>Click to edit Master text styles</a:t>
            </a:r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77587" y="6478120"/>
            <a:ext cx="26667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3687" y="6478120"/>
            <a:ext cx="108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Date Month 2016</a:t>
            </a:r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923675" y="6478120"/>
            <a:ext cx="330066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4" name="Text Box 11" descr="&lt;COMPANY_NAME&gt;" title="&lt;COMPANY_NAME&gt;"/>
          <p:cNvSpPr txBox="1">
            <a:spLocks noChangeArrowheads="1"/>
          </p:cNvSpPr>
          <p:nvPr userDrawn="1"/>
        </p:nvSpPr>
        <p:spPr bwMode="auto">
          <a:xfrm>
            <a:off x="507890" y="6478120"/>
            <a:ext cx="2285554" cy="2377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00">
                <a:solidFill>
                  <a:schemeClr val="tx1"/>
                </a:solidFill>
                <a:latin typeface="+mn-lt"/>
                <a:cs typeface="Arial" pitchFamily="34" charset="0"/>
              </a:rPr>
              <a:t>Shell Nigeria</a:t>
            </a:r>
            <a:endParaRPr lang="en-GB" sz="80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9" name="Title 1"/>
          <p:cNvSpPr>
            <a:spLocks noGrp="1"/>
          </p:cNvSpPr>
          <p:nvPr>
            <p:ph type="title" hasCustomPrompt="1"/>
          </p:nvPr>
        </p:nvSpPr>
        <p:spPr>
          <a:xfrm>
            <a:off x="761986" y="2638196"/>
            <a:ext cx="3358458" cy="1360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MY" sz="1400" dirty="0"/>
            </a:lvl1pPr>
          </a:lstStyle>
          <a:p>
            <a:pPr lvl="0" defTabSz="1219121">
              <a:lnSpc>
                <a:spcPct val="100000"/>
              </a:lnSpc>
            </a:pPr>
            <a:r>
              <a:rPr lang="en-GB" dirty="0"/>
              <a:t>Click to subtitle</a:t>
            </a:r>
          </a:p>
        </p:txBody>
      </p:sp>
      <p:sp>
        <p:nvSpPr>
          <p:cNvPr id="30" name="Rectangle 29"/>
          <p:cNvSpPr/>
          <p:nvPr userDrawn="1"/>
        </p:nvSpPr>
        <p:spPr bwMode="gray">
          <a:xfrm>
            <a:off x="761986" y="1524000"/>
            <a:ext cx="1269984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</p:spTree>
  </p:cSld>
  <p:clrMapOvr>
    <a:masterClrMapping/>
  </p:clrMapOvr>
  <p:transition/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77587" y="6478120"/>
            <a:ext cx="26667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3687" y="6478120"/>
            <a:ext cx="108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Date Month 2016</a:t>
            </a:r>
            <a:endParaRPr lang="en-GB" dirty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923675" y="6478120"/>
            <a:ext cx="330066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Text Box 11" descr="&lt;COMPANY_NAME&gt;" title="&lt;COMPANY_NAME&gt;"/>
          <p:cNvSpPr txBox="1">
            <a:spLocks noChangeArrowheads="1"/>
          </p:cNvSpPr>
          <p:nvPr userDrawn="1"/>
        </p:nvSpPr>
        <p:spPr bwMode="auto">
          <a:xfrm>
            <a:off x="507890" y="6478120"/>
            <a:ext cx="2285554" cy="2377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00">
                <a:solidFill>
                  <a:schemeClr val="tx1"/>
                </a:solidFill>
                <a:latin typeface="+mn-lt"/>
                <a:cs typeface="Arial" pitchFamily="34" charset="0"/>
              </a:rPr>
              <a:t>Shell Nigeria</a:t>
            </a:r>
            <a:endParaRPr lang="en-GB" sz="80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</p:cSld>
  <p:clrMapOvr>
    <a:masterClrMapping/>
  </p:clrMapOvr>
  <p:transition/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 bwMode="gray">
          <a:xfrm>
            <a:off x="1" y="4313786"/>
            <a:ext cx="9144000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chemeClr val="tx1"/>
              </a:solidFill>
            </a:endParaRPr>
          </a:p>
        </p:txBody>
      </p:sp>
      <p:pic>
        <p:nvPicPr>
          <p:cNvPr id="20" name="Picture 19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778400" y="961200"/>
            <a:ext cx="6861600" cy="1584000"/>
          </a:xfrm>
          <a:noFill/>
        </p:spPr>
        <p:txBody>
          <a:bodyPr lIns="0" tIns="0" rIns="0"/>
          <a:lstStyle>
            <a:lvl1pPr algn="l" defTabSz="1219121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lang="en-GB" sz="2800" b="0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78401" y="3044536"/>
            <a:ext cx="3292364" cy="1023464"/>
          </a:xfrm>
        </p:spPr>
        <p:txBody>
          <a:bodyPr anchor="b" anchorCtr="0"/>
          <a:lstStyle>
            <a:lvl1pPr marL="0" indent="0" algn="l" defTabSz="357694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lang="en-GB" sz="1800" kern="1200" baseline="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78403" y="4586400"/>
            <a:ext cx="3305949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35769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778403" y="4838400"/>
            <a:ext cx="3305949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35769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dirty="0"/>
              <a:t>Click to insert Role in Organisation</a:t>
            </a:r>
          </a:p>
        </p:txBody>
      </p:sp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>
          <a:xfrm>
            <a:off x="5320146" y="2795155"/>
            <a:ext cx="3319030" cy="2904946"/>
          </a:xfrm>
        </p:spPr>
        <p:txBody>
          <a:bodyPr/>
          <a:lstStyle>
            <a:lvl1pPr>
              <a:defRPr sz="1600"/>
            </a:lvl1pPr>
          </a:lstStyle>
          <a:p>
            <a:endParaRPr lang="en-GB" dirty="0"/>
          </a:p>
        </p:txBody>
      </p:sp>
      <p:sp>
        <p:nvSpPr>
          <p:cNvPr id="104" name="Text Box 11" descr="&lt;COMPANY_NAME&gt;" title="&lt;COMPANY_NAME&gt;"/>
          <p:cNvSpPr txBox="1">
            <a:spLocks noChangeArrowheads="1"/>
          </p:cNvSpPr>
          <p:nvPr userDrawn="1"/>
        </p:nvSpPr>
        <p:spPr bwMode="auto">
          <a:xfrm>
            <a:off x="507890" y="6478120"/>
            <a:ext cx="2285554" cy="2377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00">
                <a:solidFill>
                  <a:schemeClr val="tx1"/>
                </a:solidFill>
                <a:latin typeface="+mn-lt"/>
                <a:cs typeface="Arial" pitchFamily="34" charset="0"/>
              </a:rPr>
              <a:t>Shell Nigeria</a:t>
            </a:r>
            <a:endParaRPr lang="en-GB" sz="80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77587" y="6478120"/>
            <a:ext cx="26667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3687" y="6478120"/>
            <a:ext cx="108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Date Month 2016</a:t>
            </a:r>
            <a:endParaRPr lang="en-GB" dirty="0"/>
          </a:p>
        </p:txBody>
      </p:sp>
      <p:sp>
        <p:nvSpPr>
          <p:cNvPr id="10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923675" y="6478120"/>
            <a:ext cx="330066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0520605"/>
      </p:ext>
    </p:extLst>
  </p:cSld>
  <p:clrMapOvr>
    <a:masterClrMapping/>
  </p:clrMapOvr>
  <p:transition/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1890" y="1280160"/>
            <a:ext cx="4300222" cy="4300222"/>
          </a:xfrm>
          <a:prstGeom prst="rect">
            <a:avLst/>
          </a:prstGeom>
        </p:spPr>
      </p:pic>
    </p:spTree>
  </p:cSld>
  <p:clrMapOvr>
    <a:masterClrMapping/>
  </p:clrMapOvr>
  <p:transition/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auto">
          <a:xfrm>
            <a:off x="7" y="4313786"/>
            <a:ext cx="9143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schemeClr val="bg1"/>
              </a:solidFill>
            </a:endParaRPr>
          </a:p>
        </p:txBody>
      </p:sp>
      <p:sp>
        <p:nvSpPr>
          <p:cNvPr id="17" name="Rectangle 16" descr="&lt;Shell Yellow Bar&gt;" title="&lt;Shell Yellow Bar&gt;"/>
          <p:cNvSpPr/>
          <p:nvPr userDrawn="1"/>
        </p:nvSpPr>
        <p:spPr bwMode="auto">
          <a:xfrm>
            <a:off x="1333508" y="761998"/>
            <a:ext cx="952488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schemeClr val="tx1"/>
              </a:solidFill>
            </a:endParaRPr>
          </a:p>
        </p:txBody>
      </p:sp>
      <p:pic>
        <p:nvPicPr>
          <p:cNvPr id="18" name="Picture 17" descr="PECTEN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5250" y="645968"/>
            <a:ext cx="1143000" cy="1524000"/>
          </a:xfrm>
          <a:prstGeom prst="rect">
            <a:avLst/>
          </a:prstGeom>
        </p:spPr>
      </p:pic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1333509" y="3819112"/>
            <a:ext cx="5020957" cy="161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50" baseline="0" noProof="0" dirty="0">
                <a:solidFill>
                  <a:schemeClr val="accent6"/>
                </a:solidFill>
                <a:latin typeface="+mn-lt"/>
              </a:rPr>
              <a:t>Document type | </a:t>
            </a:r>
            <a:r>
              <a:rPr lang="en-US" sz="1050" kern="1200" baseline="0" noProof="0" dirty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Date</a:t>
            </a:r>
            <a:endParaRPr lang="en-US" sz="1050" baseline="0" noProof="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333509" y="1161747"/>
            <a:ext cx="5020957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2400" b="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333509" y="2602007"/>
            <a:ext cx="5020957" cy="161583"/>
          </a:xfrm>
        </p:spPr>
        <p:txBody>
          <a:bodyPr>
            <a:spAutoFit/>
          </a:bodyPr>
          <a:lstStyle>
            <a:lvl1pPr algn="l">
              <a:defRPr sz="1050" cap="all" baseline="0">
                <a:solidFill>
                  <a:schemeClr val="accent6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8296016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45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0375545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13144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0" y="228603"/>
            <a:ext cx="8675688" cy="516467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vert="horz" wrap="square" lIns="696387" tIns="99870" rIns="26991" bIns="0" numCol="1" anchor="t" anchorCtr="0" compatLnSpc="1">
            <a:prstTxWarp prst="textNoShape">
              <a:avLst/>
            </a:prstTxWarp>
          </a:bodyPr>
          <a:lstStyle/>
          <a:p>
            <a:pPr defTabSz="685582" eaLnBrk="0" hangingPunct="0">
              <a:lnSpc>
                <a:spcPct val="90000"/>
              </a:lnSpc>
            </a:pPr>
            <a:endParaRPr lang="en-US" sz="1837" b="1" dirty="0">
              <a:solidFill>
                <a:srgbClr val="D42E12"/>
              </a:solidFill>
              <a:latin typeface="Futura Medium" pitchFamily="18" charset="0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5883" y="295202"/>
            <a:ext cx="8134630" cy="2539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468317" y="1312202"/>
            <a:ext cx="8208961" cy="1149738"/>
          </a:xfrm>
        </p:spPr>
        <p:txBody>
          <a:bodyPr/>
          <a:lstStyle>
            <a:lvl1pPr marL="0" indent="0" defTabSz="201152">
              <a:lnSpc>
                <a:spcPct val="120000"/>
              </a:lnSpc>
              <a:spcBef>
                <a:spcPts val="0"/>
              </a:spcBef>
              <a:defRPr/>
            </a:lvl1pPr>
            <a:lvl2pPr marL="203532" indent="-203532" defTabSz="201152">
              <a:lnSpc>
                <a:spcPct val="120000"/>
              </a:lnSpc>
              <a:spcBef>
                <a:spcPts val="0"/>
              </a:spcBef>
              <a:defRPr/>
            </a:lvl2pPr>
            <a:lvl3pPr marL="338030" indent="-135689" defTabSz="201152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531"/>
            </a:lvl3pPr>
            <a:lvl4pPr defTabSz="201152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224"/>
            </a:lvl4pPr>
            <a:lvl5pPr defTabSz="201152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SzPct val="75000"/>
              <a:buFont typeface="Wingdings" pitchFamily="2" charset="2"/>
              <a:buChar char=""/>
              <a:defRPr sz="1071"/>
            </a:lvl5pPr>
            <a:lvl6pPr defTabSz="201152">
              <a:lnSpc>
                <a:spcPct val="120000"/>
              </a:lnSpc>
              <a:buClr>
                <a:schemeClr val="tx1"/>
              </a:buClr>
              <a:buSzPct val="75000"/>
              <a:buFont typeface="Wingdings" pitchFamily="2" charset="2"/>
              <a:buChar char=""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8152803"/>
      </p:ext>
    </p:extLst>
  </p:cSld>
  <p:clrMapOvr>
    <a:masterClrMapping/>
  </p:clrMapOvr>
  <p:transition/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0" y="26"/>
            <a:ext cx="9144000" cy="6858000"/>
            <a:chOff x="0" y="0"/>
            <a:chExt cx="9144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9144000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77922" fontAlgn="auto">
                <a:spcBef>
                  <a:spcPts val="0"/>
                </a:spcBef>
                <a:spcAft>
                  <a:spcPts val="0"/>
                </a:spcAft>
              </a:pPr>
              <a:endParaRPr lang="en-GB" sz="1378" dirty="0">
                <a:solidFill>
                  <a:srgbClr val="FFFFFF"/>
                </a:solidFill>
              </a:endParaRPr>
            </a:p>
          </p:txBody>
        </p:sp>
        <p:pic>
          <p:nvPicPr>
            <p:cNvPr id="3" name="Picture 2" descr="Shell-2010-Pecten-RGBpc.wmf"/>
            <p:cNvPicPr>
              <a:picLocks noChangeAspect="1"/>
            </p:cNvPicPr>
            <p:nvPr userDrawn="1"/>
          </p:nvPicPr>
          <p:blipFill>
            <a:blip r:embed="rId2" cstate="print"/>
            <a:stretch>
              <a:fillRect/>
            </a:stretch>
          </p:blipFill>
          <p:spPr>
            <a:xfrm>
              <a:off x="3418626" y="2285524"/>
              <a:ext cx="2340000" cy="2170570"/>
            </a:xfrm>
            <a:prstGeom prst="rect">
              <a:avLst/>
            </a:prstGeom>
          </p:spPr>
        </p:pic>
      </p:grpSp>
      <p:sp>
        <p:nvSpPr>
          <p:cNvPr id="2" name="TextBox 1"/>
          <p:cNvSpPr txBox="1"/>
          <p:nvPr userDrawn="1"/>
        </p:nvSpPr>
        <p:spPr>
          <a:xfrm>
            <a:off x="8719605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E5D9C6AB-D259-4054-A53F-8471EA755BD6}" type="slidenum">
              <a:rPr lang="en-US" sz="765" b="0" i="0" baseline="0" smtClean="0"/>
              <a:pPr algn="l"/>
              <a:t>‹#›</a:t>
            </a:fld>
            <a:endParaRPr lang="en-US" sz="765" b="0" i="0" baseline="0" dirty="0"/>
          </a:p>
        </p:txBody>
      </p:sp>
    </p:spTree>
    <p:extLst>
      <p:ext uri="{BB962C8B-B14F-4D97-AF65-F5344CB8AC3E}">
        <p14:creationId xmlns:p14="http://schemas.microsoft.com/office/powerpoint/2010/main" val="391452444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tangle 101"/>
          <p:cNvSpPr/>
          <p:nvPr userDrawn="1"/>
        </p:nvSpPr>
        <p:spPr bwMode="gray">
          <a:xfrm>
            <a:off x="504826" y="3554416"/>
            <a:ext cx="6864351" cy="2797175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31" name="Rectangle 30"/>
          <p:cNvSpPr/>
          <p:nvPr userDrawn="1"/>
        </p:nvSpPr>
        <p:spPr bwMode="gray">
          <a:xfrm>
            <a:off x="1832301" y="3829099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chemeClr val="tx1"/>
              </a:solidFill>
            </a:endParaRPr>
          </a:p>
        </p:txBody>
      </p:sp>
      <p:pic>
        <p:nvPicPr>
          <p:cNvPr id="34" name="Picture 33" descr="PECTE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0918" y="3688502"/>
            <a:ext cx="1465237" cy="1465237"/>
          </a:xfrm>
          <a:prstGeom prst="rect">
            <a:avLst/>
          </a:prstGeom>
        </p:spPr>
      </p:pic>
      <p:sp>
        <p:nvSpPr>
          <p:cNvPr id="35" name="Picture Placeholder 2"/>
          <p:cNvSpPr>
            <a:spLocks noGrp="1"/>
          </p:cNvSpPr>
          <p:nvPr userDrawn="1">
            <p:ph type="pic" sz="quarter" idx="13"/>
          </p:nvPr>
        </p:nvSpPr>
        <p:spPr bwMode="auto">
          <a:xfrm>
            <a:off x="3" y="1"/>
            <a:ext cx="9150673" cy="4830116"/>
          </a:xfrm>
          <a:custGeom>
            <a:avLst/>
            <a:gdLst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0 w 12192000"/>
              <a:gd name="connsiteY3" fmla="*/ 4854636 h 4854636"/>
              <a:gd name="connsiteX4" fmla="*/ 0 w 12192000"/>
              <a:gd name="connsiteY4" fmla="*/ 0 h 4854636"/>
              <a:gd name="connsiteX0" fmla="*/ 0 w 12192000"/>
              <a:gd name="connsiteY0" fmla="*/ 0 h 4854636"/>
              <a:gd name="connsiteX1" fmla="*/ 12192000 w 12192000"/>
              <a:gd name="connsiteY1" fmla="*/ 0 h 4854636"/>
              <a:gd name="connsiteX2" fmla="*/ 12192000 w 12192000"/>
              <a:gd name="connsiteY2" fmla="*/ 4854636 h 4854636"/>
              <a:gd name="connsiteX3" fmla="*/ 592282 w 12192000"/>
              <a:gd name="connsiteY3" fmla="*/ 4842164 h 4854636"/>
              <a:gd name="connsiteX4" fmla="*/ 0 w 12192000"/>
              <a:gd name="connsiteY4" fmla="*/ 4854636 h 4854636"/>
              <a:gd name="connsiteX5" fmla="*/ 0 w 12192000"/>
              <a:gd name="connsiteY5" fmla="*/ 0 h 485463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592282 w 12192000"/>
              <a:gd name="connsiteY3" fmla="*/ 4842164 h 4888026"/>
              <a:gd name="connsiteX4" fmla="*/ 0 w 12192000"/>
              <a:gd name="connsiteY4" fmla="*/ 4854636 h 4888026"/>
              <a:gd name="connsiteX5" fmla="*/ 0 w 12192000"/>
              <a:gd name="connsiteY5" fmla="*/ 0 h 4888026"/>
              <a:gd name="connsiteX0" fmla="*/ 0 w 12192000"/>
              <a:gd name="connsiteY0" fmla="*/ 0 h 4888026"/>
              <a:gd name="connsiteX1" fmla="*/ 12192000 w 12192000"/>
              <a:gd name="connsiteY1" fmla="*/ 0 h 4888026"/>
              <a:gd name="connsiteX2" fmla="*/ 12192000 w 12192000"/>
              <a:gd name="connsiteY2" fmla="*/ 4854636 h 4888026"/>
              <a:gd name="connsiteX3" fmla="*/ 841664 w 12192000"/>
              <a:gd name="connsiteY3" fmla="*/ 2909455 h 4888026"/>
              <a:gd name="connsiteX4" fmla="*/ 592282 w 12192000"/>
              <a:gd name="connsiteY4" fmla="*/ 4842164 h 4888026"/>
              <a:gd name="connsiteX5" fmla="*/ 0 w 12192000"/>
              <a:gd name="connsiteY5" fmla="*/ 4854636 h 4888026"/>
              <a:gd name="connsiteX6" fmla="*/ 0 w 12192000"/>
              <a:gd name="connsiteY6" fmla="*/ 0 h 4888026"/>
              <a:gd name="connsiteX0" fmla="*/ 0 w 12192000"/>
              <a:gd name="connsiteY0" fmla="*/ 0 h 4982265"/>
              <a:gd name="connsiteX1" fmla="*/ 12192000 w 12192000"/>
              <a:gd name="connsiteY1" fmla="*/ 0 h 4982265"/>
              <a:gd name="connsiteX2" fmla="*/ 12192000 w 12192000"/>
              <a:gd name="connsiteY2" fmla="*/ 4854636 h 4982265"/>
              <a:gd name="connsiteX3" fmla="*/ 7606145 w 12192000"/>
              <a:gd name="connsiteY3" fmla="*/ 3543300 h 4982265"/>
              <a:gd name="connsiteX4" fmla="*/ 841664 w 12192000"/>
              <a:gd name="connsiteY4" fmla="*/ 2909455 h 4982265"/>
              <a:gd name="connsiteX5" fmla="*/ 592282 w 12192000"/>
              <a:gd name="connsiteY5" fmla="*/ 4842164 h 4982265"/>
              <a:gd name="connsiteX6" fmla="*/ 0 w 12192000"/>
              <a:gd name="connsiteY6" fmla="*/ 4854636 h 4982265"/>
              <a:gd name="connsiteX7" fmla="*/ 0 w 12192000"/>
              <a:gd name="connsiteY7" fmla="*/ 0 h 4982265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592282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2164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61702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46071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841664 w 12192000"/>
              <a:gd name="connsiteY5" fmla="*/ 2909455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48146 w 12192000"/>
              <a:gd name="connsiteY5" fmla="*/ 3564082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0 w 12192000"/>
              <a:gd name="connsiteY0" fmla="*/ 0 h 5111319"/>
              <a:gd name="connsiteX1" fmla="*/ 12192000 w 12192000"/>
              <a:gd name="connsiteY1" fmla="*/ 0 h 5111319"/>
              <a:gd name="connsiteX2" fmla="*/ 12192000 w 12192000"/>
              <a:gd name="connsiteY2" fmla="*/ 4854636 h 5111319"/>
              <a:gd name="connsiteX3" fmla="*/ 7668491 w 12192000"/>
              <a:gd name="connsiteY3" fmla="*/ 4582391 h 5111319"/>
              <a:gd name="connsiteX4" fmla="*/ 7606145 w 12192000"/>
              <a:gd name="connsiteY4" fmla="*/ 3543300 h 5111319"/>
              <a:gd name="connsiteX5" fmla="*/ 754970 w 12192000"/>
              <a:gd name="connsiteY5" fmla="*/ 3547023 h 5111319"/>
              <a:gd name="connsiteX6" fmla="*/ 760313 w 12192000"/>
              <a:gd name="connsiteY6" fmla="*/ 4857795 h 5111319"/>
              <a:gd name="connsiteX7" fmla="*/ 0 w 12192000"/>
              <a:gd name="connsiteY7" fmla="*/ 4854636 h 5111319"/>
              <a:gd name="connsiteX8" fmla="*/ 0 w 12192000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7795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9839 w 12194382"/>
              <a:gd name="connsiteY6" fmla="*/ 4838792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872233 w 12194382"/>
              <a:gd name="connsiteY6" fmla="*/ 4872048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45920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57352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08527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11319"/>
              <a:gd name="connsiteX1" fmla="*/ 12194382 w 12194382"/>
              <a:gd name="connsiteY1" fmla="*/ 0 h 5111319"/>
              <a:gd name="connsiteX2" fmla="*/ 12194382 w 12194382"/>
              <a:gd name="connsiteY2" fmla="*/ 4854636 h 5111319"/>
              <a:gd name="connsiteX3" fmla="*/ 7670873 w 12194382"/>
              <a:gd name="connsiteY3" fmla="*/ 4582391 h 5111319"/>
              <a:gd name="connsiteX4" fmla="*/ 7620433 w 12194382"/>
              <a:gd name="connsiteY4" fmla="*/ 3543300 h 5111319"/>
              <a:gd name="connsiteX5" fmla="*/ 762115 w 12194382"/>
              <a:gd name="connsiteY5" fmla="*/ 3547023 h 5111319"/>
              <a:gd name="connsiteX6" fmla="*/ 762695 w 12194382"/>
              <a:gd name="connsiteY6" fmla="*/ 4850671 h 5111319"/>
              <a:gd name="connsiteX7" fmla="*/ 0 w 12194382"/>
              <a:gd name="connsiteY7" fmla="*/ 4847509 h 5111319"/>
              <a:gd name="connsiteX8" fmla="*/ 2382 w 12194382"/>
              <a:gd name="connsiteY8" fmla="*/ 0 h 5111319"/>
              <a:gd name="connsiteX0" fmla="*/ 2382 w 12194382"/>
              <a:gd name="connsiteY0" fmla="*/ 0 h 5182443"/>
              <a:gd name="connsiteX1" fmla="*/ 12194382 w 12194382"/>
              <a:gd name="connsiteY1" fmla="*/ 0 h 5182443"/>
              <a:gd name="connsiteX2" fmla="*/ 12194382 w 12194382"/>
              <a:gd name="connsiteY2" fmla="*/ 4854636 h 5182443"/>
              <a:gd name="connsiteX3" fmla="*/ 7623248 w 12194382"/>
              <a:gd name="connsiteY3" fmla="*/ 4843680 h 5182443"/>
              <a:gd name="connsiteX4" fmla="*/ 7620433 w 12194382"/>
              <a:gd name="connsiteY4" fmla="*/ 3543300 h 5182443"/>
              <a:gd name="connsiteX5" fmla="*/ 762115 w 12194382"/>
              <a:gd name="connsiteY5" fmla="*/ 3547023 h 5182443"/>
              <a:gd name="connsiteX6" fmla="*/ 762695 w 12194382"/>
              <a:gd name="connsiteY6" fmla="*/ 4850671 h 5182443"/>
              <a:gd name="connsiteX7" fmla="*/ 0 w 12194382"/>
              <a:gd name="connsiteY7" fmla="*/ 4847509 h 5182443"/>
              <a:gd name="connsiteX8" fmla="*/ 2382 w 12194382"/>
              <a:gd name="connsiteY8" fmla="*/ 0 h 5182443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382"/>
              <a:gd name="connsiteY0" fmla="*/ 0 h 5128150"/>
              <a:gd name="connsiteX1" fmla="*/ 12194382 w 12194382"/>
              <a:gd name="connsiteY1" fmla="*/ 0 h 5128150"/>
              <a:gd name="connsiteX2" fmla="*/ 12194382 w 12194382"/>
              <a:gd name="connsiteY2" fmla="*/ 4854636 h 5128150"/>
              <a:gd name="connsiteX3" fmla="*/ 7623248 w 12194382"/>
              <a:gd name="connsiteY3" fmla="*/ 4843680 h 5128150"/>
              <a:gd name="connsiteX4" fmla="*/ 7620433 w 12194382"/>
              <a:gd name="connsiteY4" fmla="*/ 3543300 h 5128150"/>
              <a:gd name="connsiteX5" fmla="*/ 762115 w 12194382"/>
              <a:gd name="connsiteY5" fmla="*/ 3547023 h 5128150"/>
              <a:gd name="connsiteX6" fmla="*/ 762695 w 12194382"/>
              <a:gd name="connsiteY6" fmla="*/ 4850671 h 5128150"/>
              <a:gd name="connsiteX7" fmla="*/ 0 w 12194382"/>
              <a:gd name="connsiteY7" fmla="*/ 4847509 h 5128150"/>
              <a:gd name="connsiteX8" fmla="*/ 2382 w 12194382"/>
              <a:gd name="connsiteY8" fmla="*/ 0 h 5128150"/>
              <a:gd name="connsiteX0" fmla="*/ 2382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382 w 12194723"/>
              <a:gd name="connsiteY8" fmla="*/ 0 h 4854829"/>
              <a:gd name="connsiteX0" fmla="*/ 241373 w 12194723"/>
              <a:gd name="connsiteY0" fmla="*/ 0 h 4854829"/>
              <a:gd name="connsiteX1" fmla="*/ 12194382 w 12194723"/>
              <a:gd name="connsiteY1" fmla="*/ 0 h 4854829"/>
              <a:gd name="connsiteX2" fmla="*/ 12194382 w 12194723"/>
              <a:gd name="connsiteY2" fmla="*/ 4854636 h 4854829"/>
              <a:gd name="connsiteX3" fmla="*/ 7623248 w 12194723"/>
              <a:gd name="connsiteY3" fmla="*/ 4843680 h 4854829"/>
              <a:gd name="connsiteX4" fmla="*/ 7620433 w 12194723"/>
              <a:gd name="connsiteY4" fmla="*/ 3543300 h 4854829"/>
              <a:gd name="connsiteX5" fmla="*/ 762115 w 12194723"/>
              <a:gd name="connsiteY5" fmla="*/ 3547023 h 4854829"/>
              <a:gd name="connsiteX6" fmla="*/ 762695 w 12194723"/>
              <a:gd name="connsiteY6" fmla="*/ 4850671 h 4854829"/>
              <a:gd name="connsiteX7" fmla="*/ 0 w 12194723"/>
              <a:gd name="connsiteY7" fmla="*/ 4847509 h 4854829"/>
              <a:gd name="connsiteX8" fmla="*/ 241373 w 12194723"/>
              <a:gd name="connsiteY8" fmla="*/ 0 h 4854829"/>
              <a:gd name="connsiteX0" fmla="*/ 2382 w 11955732"/>
              <a:gd name="connsiteY0" fmla="*/ 0 h 4854829"/>
              <a:gd name="connsiteX1" fmla="*/ 11955391 w 11955732"/>
              <a:gd name="connsiteY1" fmla="*/ 0 h 4854829"/>
              <a:gd name="connsiteX2" fmla="*/ 11955391 w 11955732"/>
              <a:gd name="connsiteY2" fmla="*/ 4854636 h 4854829"/>
              <a:gd name="connsiteX3" fmla="*/ 7384257 w 11955732"/>
              <a:gd name="connsiteY3" fmla="*/ 4843680 h 4854829"/>
              <a:gd name="connsiteX4" fmla="*/ 7381442 w 11955732"/>
              <a:gd name="connsiteY4" fmla="*/ 3543300 h 4854829"/>
              <a:gd name="connsiteX5" fmla="*/ 523124 w 11955732"/>
              <a:gd name="connsiteY5" fmla="*/ 3547023 h 4854829"/>
              <a:gd name="connsiteX6" fmla="*/ 523704 w 11955732"/>
              <a:gd name="connsiteY6" fmla="*/ 4850671 h 4854829"/>
              <a:gd name="connsiteX7" fmla="*/ 0 w 11955732"/>
              <a:gd name="connsiteY7" fmla="*/ 4847509 h 4854829"/>
              <a:gd name="connsiteX8" fmla="*/ 2382 w 11955732"/>
              <a:gd name="connsiteY8" fmla="*/ 0 h 4854829"/>
              <a:gd name="connsiteX0" fmla="*/ 2382 w 11960184"/>
              <a:gd name="connsiteY0" fmla="*/ 0 h 4854829"/>
              <a:gd name="connsiteX1" fmla="*/ 11955391 w 11960184"/>
              <a:gd name="connsiteY1" fmla="*/ 0 h 4854829"/>
              <a:gd name="connsiteX2" fmla="*/ 11955391 w 11960184"/>
              <a:gd name="connsiteY2" fmla="*/ 4854636 h 4854829"/>
              <a:gd name="connsiteX3" fmla="*/ 7384257 w 11960184"/>
              <a:gd name="connsiteY3" fmla="*/ 4843680 h 4854829"/>
              <a:gd name="connsiteX4" fmla="*/ 7381442 w 11960184"/>
              <a:gd name="connsiteY4" fmla="*/ 3543300 h 4854829"/>
              <a:gd name="connsiteX5" fmla="*/ 523124 w 11960184"/>
              <a:gd name="connsiteY5" fmla="*/ 3547023 h 4854829"/>
              <a:gd name="connsiteX6" fmla="*/ 523704 w 11960184"/>
              <a:gd name="connsiteY6" fmla="*/ 4850671 h 4854829"/>
              <a:gd name="connsiteX7" fmla="*/ 0 w 11960184"/>
              <a:gd name="connsiteY7" fmla="*/ 4847509 h 4854829"/>
              <a:gd name="connsiteX8" fmla="*/ 2382 w 11960184"/>
              <a:gd name="connsiteY8" fmla="*/ 0 h 4854829"/>
              <a:gd name="connsiteX0" fmla="*/ 2382 w 11975151"/>
              <a:gd name="connsiteY0" fmla="*/ 0 h 5210613"/>
              <a:gd name="connsiteX1" fmla="*/ 9149846 w 11975151"/>
              <a:gd name="connsiteY1" fmla="*/ 0 h 5210613"/>
              <a:gd name="connsiteX2" fmla="*/ 11955391 w 11975151"/>
              <a:gd name="connsiteY2" fmla="*/ 4854636 h 5210613"/>
              <a:gd name="connsiteX3" fmla="*/ 7384257 w 11975151"/>
              <a:gd name="connsiteY3" fmla="*/ 4843680 h 5210613"/>
              <a:gd name="connsiteX4" fmla="*/ 7381442 w 11975151"/>
              <a:gd name="connsiteY4" fmla="*/ 3543300 h 5210613"/>
              <a:gd name="connsiteX5" fmla="*/ 523124 w 11975151"/>
              <a:gd name="connsiteY5" fmla="*/ 3547023 h 5210613"/>
              <a:gd name="connsiteX6" fmla="*/ 523704 w 11975151"/>
              <a:gd name="connsiteY6" fmla="*/ 4850671 h 5210613"/>
              <a:gd name="connsiteX7" fmla="*/ 0 w 11975151"/>
              <a:gd name="connsiteY7" fmla="*/ 4847509 h 5210613"/>
              <a:gd name="connsiteX8" fmla="*/ 2382 w 11975151"/>
              <a:gd name="connsiteY8" fmla="*/ 0 h 5210613"/>
              <a:gd name="connsiteX0" fmla="*/ 2382 w 11955393"/>
              <a:gd name="connsiteY0" fmla="*/ 0 h 4854636"/>
              <a:gd name="connsiteX1" fmla="*/ 9149846 w 11955393"/>
              <a:gd name="connsiteY1" fmla="*/ 0 h 4854636"/>
              <a:gd name="connsiteX2" fmla="*/ 11955391 w 11955393"/>
              <a:gd name="connsiteY2" fmla="*/ 4854636 h 4854636"/>
              <a:gd name="connsiteX3" fmla="*/ 7384257 w 11955393"/>
              <a:gd name="connsiteY3" fmla="*/ 4843680 h 4854636"/>
              <a:gd name="connsiteX4" fmla="*/ 7381442 w 11955393"/>
              <a:gd name="connsiteY4" fmla="*/ 3543300 h 4854636"/>
              <a:gd name="connsiteX5" fmla="*/ 523124 w 11955393"/>
              <a:gd name="connsiteY5" fmla="*/ 3547023 h 4854636"/>
              <a:gd name="connsiteX6" fmla="*/ 523704 w 11955393"/>
              <a:gd name="connsiteY6" fmla="*/ 4850671 h 4854636"/>
              <a:gd name="connsiteX7" fmla="*/ 0 w 11955393"/>
              <a:gd name="connsiteY7" fmla="*/ 4847509 h 4854636"/>
              <a:gd name="connsiteX8" fmla="*/ 2382 w 11955393"/>
              <a:gd name="connsiteY8" fmla="*/ 0 h 4854636"/>
              <a:gd name="connsiteX0" fmla="*/ 2382 w 9685771"/>
              <a:gd name="connsiteY0" fmla="*/ 360370 h 5307510"/>
              <a:gd name="connsiteX1" fmla="*/ 9149846 w 9685771"/>
              <a:gd name="connsiteY1" fmla="*/ 360370 h 5307510"/>
              <a:gd name="connsiteX2" fmla="*/ 8661472 w 9685771"/>
              <a:gd name="connsiteY2" fmla="*/ 5225371 h 5307510"/>
              <a:gd name="connsiteX3" fmla="*/ 7384257 w 9685771"/>
              <a:gd name="connsiteY3" fmla="*/ 5204050 h 5307510"/>
              <a:gd name="connsiteX4" fmla="*/ 7381442 w 9685771"/>
              <a:gd name="connsiteY4" fmla="*/ 3903670 h 5307510"/>
              <a:gd name="connsiteX5" fmla="*/ 523124 w 9685771"/>
              <a:gd name="connsiteY5" fmla="*/ 3907393 h 5307510"/>
              <a:gd name="connsiteX6" fmla="*/ 523704 w 9685771"/>
              <a:gd name="connsiteY6" fmla="*/ 5211041 h 5307510"/>
              <a:gd name="connsiteX7" fmla="*/ 0 w 9685771"/>
              <a:gd name="connsiteY7" fmla="*/ 5207879 h 5307510"/>
              <a:gd name="connsiteX8" fmla="*/ 2382 w 9685771"/>
              <a:gd name="connsiteY8" fmla="*/ 360370 h 5307510"/>
              <a:gd name="connsiteX0" fmla="*/ 2382 w 9151108"/>
              <a:gd name="connsiteY0" fmla="*/ 0 h 4947140"/>
              <a:gd name="connsiteX1" fmla="*/ 9149846 w 9151108"/>
              <a:gd name="connsiteY1" fmla="*/ 0 h 4947140"/>
              <a:gd name="connsiteX2" fmla="*/ 8661472 w 9151108"/>
              <a:gd name="connsiteY2" fmla="*/ 4865001 h 4947140"/>
              <a:gd name="connsiteX3" fmla="*/ 7384257 w 9151108"/>
              <a:gd name="connsiteY3" fmla="*/ 4843680 h 4947140"/>
              <a:gd name="connsiteX4" fmla="*/ 7381442 w 9151108"/>
              <a:gd name="connsiteY4" fmla="*/ 3543300 h 4947140"/>
              <a:gd name="connsiteX5" fmla="*/ 523124 w 9151108"/>
              <a:gd name="connsiteY5" fmla="*/ 3547023 h 4947140"/>
              <a:gd name="connsiteX6" fmla="*/ 523704 w 9151108"/>
              <a:gd name="connsiteY6" fmla="*/ 4850671 h 4947140"/>
              <a:gd name="connsiteX7" fmla="*/ 0 w 9151108"/>
              <a:gd name="connsiteY7" fmla="*/ 4847509 h 4947140"/>
              <a:gd name="connsiteX8" fmla="*/ 2382 w 9151108"/>
              <a:gd name="connsiteY8" fmla="*/ 0 h 4947140"/>
              <a:gd name="connsiteX0" fmla="*/ 2382 w 9828173"/>
              <a:gd name="connsiteY0" fmla="*/ 356531 h 5286738"/>
              <a:gd name="connsiteX1" fmla="*/ 9149846 w 9828173"/>
              <a:gd name="connsiteY1" fmla="*/ 356531 h 5286738"/>
              <a:gd name="connsiteX2" fmla="*/ 9149845 w 9828173"/>
              <a:gd name="connsiteY2" fmla="*/ 5169707 h 5286738"/>
              <a:gd name="connsiteX3" fmla="*/ 7384257 w 9828173"/>
              <a:gd name="connsiteY3" fmla="*/ 5200211 h 5286738"/>
              <a:gd name="connsiteX4" fmla="*/ 7381442 w 9828173"/>
              <a:gd name="connsiteY4" fmla="*/ 3899831 h 5286738"/>
              <a:gd name="connsiteX5" fmla="*/ 523124 w 9828173"/>
              <a:gd name="connsiteY5" fmla="*/ 3903554 h 5286738"/>
              <a:gd name="connsiteX6" fmla="*/ 523704 w 9828173"/>
              <a:gd name="connsiteY6" fmla="*/ 5207202 h 5286738"/>
              <a:gd name="connsiteX7" fmla="*/ 0 w 9828173"/>
              <a:gd name="connsiteY7" fmla="*/ 5204040 h 5286738"/>
              <a:gd name="connsiteX8" fmla="*/ 2382 w 9828173"/>
              <a:gd name="connsiteY8" fmla="*/ 356531 h 5286738"/>
              <a:gd name="connsiteX0" fmla="*/ 2382 w 9154046"/>
              <a:gd name="connsiteY0" fmla="*/ 0 h 4930207"/>
              <a:gd name="connsiteX1" fmla="*/ 9149846 w 9154046"/>
              <a:gd name="connsiteY1" fmla="*/ 0 h 4930207"/>
              <a:gd name="connsiteX2" fmla="*/ 9149845 w 9154046"/>
              <a:gd name="connsiteY2" fmla="*/ 4813176 h 4930207"/>
              <a:gd name="connsiteX3" fmla="*/ 7384257 w 9154046"/>
              <a:gd name="connsiteY3" fmla="*/ 4843680 h 4930207"/>
              <a:gd name="connsiteX4" fmla="*/ 7381442 w 9154046"/>
              <a:gd name="connsiteY4" fmla="*/ 3543300 h 4930207"/>
              <a:gd name="connsiteX5" fmla="*/ 523124 w 9154046"/>
              <a:gd name="connsiteY5" fmla="*/ 3547023 h 4930207"/>
              <a:gd name="connsiteX6" fmla="*/ 523704 w 9154046"/>
              <a:gd name="connsiteY6" fmla="*/ 4850671 h 4930207"/>
              <a:gd name="connsiteX7" fmla="*/ 0 w 9154046"/>
              <a:gd name="connsiteY7" fmla="*/ 4847509 h 4930207"/>
              <a:gd name="connsiteX8" fmla="*/ 2382 w 9154046"/>
              <a:gd name="connsiteY8" fmla="*/ 0 h 4930207"/>
              <a:gd name="connsiteX0" fmla="*/ 2382 w 9154046"/>
              <a:gd name="connsiteY0" fmla="*/ 0 h 4850673"/>
              <a:gd name="connsiteX1" fmla="*/ 9149846 w 9154046"/>
              <a:gd name="connsiteY1" fmla="*/ 0 h 4850673"/>
              <a:gd name="connsiteX2" fmla="*/ 9149845 w 9154046"/>
              <a:gd name="connsiteY2" fmla="*/ 4813176 h 4850673"/>
              <a:gd name="connsiteX3" fmla="*/ 7384257 w 9154046"/>
              <a:gd name="connsiteY3" fmla="*/ 4843680 h 4850673"/>
              <a:gd name="connsiteX4" fmla="*/ 7381442 w 9154046"/>
              <a:gd name="connsiteY4" fmla="*/ 3543300 h 4850673"/>
              <a:gd name="connsiteX5" fmla="*/ 523124 w 9154046"/>
              <a:gd name="connsiteY5" fmla="*/ 3547023 h 4850673"/>
              <a:gd name="connsiteX6" fmla="*/ 523704 w 9154046"/>
              <a:gd name="connsiteY6" fmla="*/ 4850671 h 4850673"/>
              <a:gd name="connsiteX7" fmla="*/ 0 w 9154046"/>
              <a:gd name="connsiteY7" fmla="*/ 4847509 h 4850673"/>
              <a:gd name="connsiteX8" fmla="*/ 2382 w 9154046"/>
              <a:gd name="connsiteY8" fmla="*/ 0 h 4850673"/>
              <a:gd name="connsiteX0" fmla="*/ 2382 w 9282313"/>
              <a:gd name="connsiteY0" fmla="*/ 0 h 5171093"/>
              <a:gd name="connsiteX1" fmla="*/ 9149846 w 9282313"/>
              <a:gd name="connsiteY1" fmla="*/ 0 h 5171093"/>
              <a:gd name="connsiteX2" fmla="*/ 9149845 w 9282313"/>
              <a:gd name="connsiteY2" fmla="*/ 4813176 h 5171093"/>
              <a:gd name="connsiteX3" fmla="*/ 7384257 w 9282313"/>
              <a:gd name="connsiteY3" fmla="*/ 4821343 h 5171093"/>
              <a:gd name="connsiteX4" fmla="*/ 7381442 w 9282313"/>
              <a:gd name="connsiteY4" fmla="*/ 3543300 h 5171093"/>
              <a:gd name="connsiteX5" fmla="*/ 523124 w 9282313"/>
              <a:gd name="connsiteY5" fmla="*/ 3547023 h 5171093"/>
              <a:gd name="connsiteX6" fmla="*/ 523704 w 9282313"/>
              <a:gd name="connsiteY6" fmla="*/ 4850671 h 5171093"/>
              <a:gd name="connsiteX7" fmla="*/ 0 w 9282313"/>
              <a:gd name="connsiteY7" fmla="*/ 4847509 h 5171093"/>
              <a:gd name="connsiteX8" fmla="*/ 2382 w 9282313"/>
              <a:gd name="connsiteY8" fmla="*/ 0 h 5171093"/>
              <a:gd name="connsiteX0" fmla="*/ 2382 w 9282313"/>
              <a:gd name="connsiteY0" fmla="*/ 0 h 5168611"/>
              <a:gd name="connsiteX1" fmla="*/ 9149846 w 9282313"/>
              <a:gd name="connsiteY1" fmla="*/ 0 h 5168611"/>
              <a:gd name="connsiteX2" fmla="*/ 9149845 w 9282313"/>
              <a:gd name="connsiteY2" fmla="*/ 4813176 h 5168611"/>
              <a:gd name="connsiteX3" fmla="*/ 7384257 w 9282313"/>
              <a:gd name="connsiteY3" fmla="*/ 4813896 h 5168611"/>
              <a:gd name="connsiteX4" fmla="*/ 7381442 w 9282313"/>
              <a:gd name="connsiteY4" fmla="*/ 3543300 h 5168611"/>
              <a:gd name="connsiteX5" fmla="*/ 523124 w 9282313"/>
              <a:gd name="connsiteY5" fmla="*/ 3547023 h 5168611"/>
              <a:gd name="connsiteX6" fmla="*/ 523704 w 9282313"/>
              <a:gd name="connsiteY6" fmla="*/ 4850671 h 5168611"/>
              <a:gd name="connsiteX7" fmla="*/ 0 w 9282313"/>
              <a:gd name="connsiteY7" fmla="*/ 4847509 h 5168611"/>
              <a:gd name="connsiteX8" fmla="*/ 2382 w 9282313"/>
              <a:gd name="connsiteY8" fmla="*/ 0 h 5168611"/>
              <a:gd name="connsiteX0" fmla="*/ 2382 w 9153055"/>
              <a:gd name="connsiteY0" fmla="*/ 0 h 4850673"/>
              <a:gd name="connsiteX1" fmla="*/ 9149846 w 9153055"/>
              <a:gd name="connsiteY1" fmla="*/ 0 h 4850673"/>
              <a:gd name="connsiteX2" fmla="*/ 9149845 w 9153055"/>
              <a:gd name="connsiteY2" fmla="*/ 4813176 h 4850673"/>
              <a:gd name="connsiteX3" fmla="*/ 7384257 w 9153055"/>
              <a:gd name="connsiteY3" fmla="*/ 4813896 h 4850673"/>
              <a:gd name="connsiteX4" fmla="*/ 7381442 w 9153055"/>
              <a:gd name="connsiteY4" fmla="*/ 3543300 h 4850673"/>
              <a:gd name="connsiteX5" fmla="*/ 523124 w 9153055"/>
              <a:gd name="connsiteY5" fmla="*/ 3547023 h 4850673"/>
              <a:gd name="connsiteX6" fmla="*/ 523704 w 9153055"/>
              <a:gd name="connsiteY6" fmla="*/ 4850671 h 4850673"/>
              <a:gd name="connsiteX7" fmla="*/ 0 w 9153055"/>
              <a:gd name="connsiteY7" fmla="*/ 4847509 h 4850673"/>
              <a:gd name="connsiteX8" fmla="*/ 2382 w 9153055"/>
              <a:gd name="connsiteY8" fmla="*/ 0 h 4850673"/>
              <a:gd name="connsiteX0" fmla="*/ 2382 w 9153055"/>
              <a:gd name="connsiteY0" fmla="*/ 0 h 4850673"/>
              <a:gd name="connsiteX1" fmla="*/ 9149846 w 9153055"/>
              <a:gd name="connsiteY1" fmla="*/ 0 h 4850673"/>
              <a:gd name="connsiteX2" fmla="*/ 9149845 w 9153055"/>
              <a:gd name="connsiteY2" fmla="*/ 4813176 h 4850673"/>
              <a:gd name="connsiteX3" fmla="*/ 7384257 w 9153055"/>
              <a:gd name="connsiteY3" fmla="*/ 4813896 h 4850673"/>
              <a:gd name="connsiteX4" fmla="*/ 7381442 w 9153055"/>
              <a:gd name="connsiteY4" fmla="*/ 3543300 h 4850673"/>
              <a:gd name="connsiteX5" fmla="*/ 523124 w 9153055"/>
              <a:gd name="connsiteY5" fmla="*/ 3547023 h 4850673"/>
              <a:gd name="connsiteX6" fmla="*/ 523704 w 9153055"/>
              <a:gd name="connsiteY6" fmla="*/ 4850671 h 4850673"/>
              <a:gd name="connsiteX7" fmla="*/ 0 w 9153055"/>
              <a:gd name="connsiteY7" fmla="*/ 4847509 h 4850673"/>
              <a:gd name="connsiteX8" fmla="*/ 2382 w 9153055"/>
              <a:gd name="connsiteY8" fmla="*/ 0 h 4850673"/>
              <a:gd name="connsiteX0" fmla="*/ 2382 w 9153055"/>
              <a:gd name="connsiteY0" fmla="*/ 0 h 4847542"/>
              <a:gd name="connsiteX1" fmla="*/ 9149846 w 9153055"/>
              <a:gd name="connsiteY1" fmla="*/ 0 h 4847542"/>
              <a:gd name="connsiteX2" fmla="*/ 9149845 w 9153055"/>
              <a:gd name="connsiteY2" fmla="*/ 4813176 h 4847542"/>
              <a:gd name="connsiteX3" fmla="*/ 7384257 w 9153055"/>
              <a:gd name="connsiteY3" fmla="*/ 4813896 h 4847542"/>
              <a:gd name="connsiteX4" fmla="*/ 7381442 w 9153055"/>
              <a:gd name="connsiteY4" fmla="*/ 3543300 h 4847542"/>
              <a:gd name="connsiteX5" fmla="*/ 523124 w 9153055"/>
              <a:gd name="connsiteY5" fmla="*/ 3547023 h 4847542"/>
              <a:gd name="connsiteX6" fmla="*/ 517484 w 9153055"/>
              <a:gd name="connsiteY6" fmla="*/ 4825851 h 4847542"/>
              <a:gd name="connsiteX7" fmla="*/ 0 w 9153055"/>
              <a:gd name="connsiteY7" fmla="*/ 4847509 h 4847542"/>
              <a:gd name="connsiteX8" fmla="*/ 2382 w 9153055"/>
              <a:gd name="connsiteY8" fmla="*/ 0 h 4847542"/>
              <a:gd name="connsiteX0" fmla="*/ 2382 w 9153055"/>
              <a:gd name="connsiteY0" fmla="*/ 0 h 4835165"/>
              <a:gd name="connsiteX1" fmla="*/ 9149846 w 9153055"/>
              <a:gd name="connsiteY1" fmla="*/ 0 h 4835165"/>
              <a:gd name="connsiteX2" fmla="*/ 9149845 w 9153055"/>
              <a:gd name="connsiteY2" fmla="*/ 4813176 h 4835165"/>
              <a:gd name="connsiteX3" fmla="*/ 7384257 w 9153055"/>
              <a:gd name="connsiteY3" fmla="*/ 4813896 h 4835165"/>
              <a:gd name="connsiteX4" fmla="*/ 7381442 w 9153055"/>
              <a:gd name="connsiteY4" fmla="*/ 3543300 h 4835165"/>
              <a:gd name="connsiteX5" fmla="*/ 523124 w 9153055"/>
              <a:gd name="connsiteY5" fmla="*/ 3547023 h 4835165"/>
              <a:gd name="connsiteX6" fmla="*/ 517484 w 9153055"/>
              <a:gd name="connsiteY6" fmla="*/ 4825851 h 4835165"/>
              <a:gd name="connsiteX7" fmla="*/ 0 w 9153055"/>
              <a:gd name="connsiteY7" fmla="*/ 4835100 h 4835165"/>
              <a:gd name="connsiteX8" fmla="*/ 2382 w 9153055"/>
              <a:gd name="connsiteY8" fmla="*/ 0 h 4835165"/>
              <a:gd name="connsiteX0" fmla="*/ 2382 w 9153055"/>
              <a:gd name="connsiteY0" fmla="*/ 0 h 4835165"/>
              <a:gd name="connsiteX1" fmla="*/ 9149846 w 9153055"/>
              <a:gd name="connsiteY1" fmla="*/ 0 h 4835165"/>
              <a:gd name="connsiteX2" fmla="*/ 9149845 w 9153055"/>
              <a:gd name="connsiteY2" fmla="*/ 4813176 h 4835165"/>
              <a:gd name="connsiteX3" fmla="*/ 7384257 w 9153055"/>
              <a:gd name="connsiteY3" fmla="*/ 4813896 h 4835165"/>
              <a:gd name="connsiteX4" fmla="*/ 7381442 w 9153055"/>
              <a:gd name="connsiteY4" fmla="*/ 3543300 h 4835165"/>
              <a:gd name="connsiteX5" fmla="*/ 523124 w 9153055"/>
              <a:gd name="connsiteY5" fmla="*/ 3547023 h 4835165"/>
              <a:gd name="connsiteX6" fmla="*/ 517484 w 9153055"/>
              <a:gd name="connsiteY6" fmla="*/ 4825851 h 4835165"/>
              <a:gd name="connsiteX7" fmla="*/ 0 w 9153055"/>
              <a:gd name="connsiteY7" fmla="*/ 4835100 h 4835165"/>
              <a:gd name="connsiteX8" fmla="*/ 2382 w 9153055"/>
              <a:gd name="connsiteY8" fmla="*/ 0 h 4835165"/>
              <a:gd name="connsiteX0" fmla="*/ 0 w 9150673"/>
              <a:gd name="connsiteY0" fmla="*/ 0 h 4825853"/>
              <a:gd name="connsiteX1" fmla="*/ 9147464 w 9150673"/>
              <a:gd name="connsiteY1" fmla="*/ 0 h 4825853"/>
              <a:gd name="connsiteX2" fmla="*/ 9147463 w 9150673"/>
              <a:gd name="connsiteY2" fmla="*/ 4813176 h 4825853"/>
              <a:gd name="connsiteX3" fmla="*/ 7381875 w 9150673"/>
              <a:gd name="connsiteY3" fmla="*/ 4813896 h 4825853"/>
              <a:gd name="connsiteX4" fmla="*/ 7379060 w 9150673"/>
              <a:gd name="connsiteY4" fmla="*/ 3543300 h 4825853"/>
              <a:gd name="connsiteX5" fmla="*/ 520742 w 9150673"/>
              <a:gd name="connsiteY5" fmla="*/ 3547023 h 4825853"/>
              <a:gd name="connsiteX6" fmla="*/ 515102 w 9150673"/>
              <a:gd name="connsiteY6" fmla="*/ 4825851 h 4825853"/>
              <a:gd name="connsiteX7" fmla="*/ 2770 w 9150673"/>
              <a:gd name="connsiteY7" fmla="*/ 4817115 h 4825853"/>
              <a:gd name="connsiteX8" fmla="*/ 0 w 9150673"/>
              <a:gd name="connsiteY8" fmla="*/ 0 h 4825853"/>
              <a:gd name="connsiteX0" fmla="*/ 0 w 9150673"/>
              <a:gd name="connsiteY0" fmla="*/ 0 h 4818145"/>
              <a:gd name="connsiteX1" fmla="*/ 9147464 w 9150673"/>
              <a:gd name="connsiteY1" fmla="*/ 0 h 4818145"/>
              <a:gd name="connsiteX2" fmla="*/ 9147463 w 9150673"/>
              <a:gd name="connsiteY2" fmla="*/ 4813176 h 4818145"/>
              <a:gd name="connsiteX3" fmla="*/ 7381875 w 9150673"/>
              <a:gd name="connsiteY3" fmla="*/ 4813896 h 4818145"/>
              <a:gd name="connsiteX4" fmla="*/ 7379060 w 9150673"/>
              <a:gd name="connsiteY4" fmla="*/ 3543300 h 4818145"/>
              <a:gd name="connsiteX5" fmla="*/ 520742 w 9150673"/>
              <a:gd name="connsiteY5" fmla="*/ 3547023 h 4818145"/>
              <a:gd name="connsiteX6" fmla="*/ 515102 w 9150673"/>
              <a:gd name="connsiteY6" fmla="*/ 4818143 h 4818145"/>
              <a:gd name="connsiteX7" fmla="*/ 2770 w 9150673"/>
              <a:gd name="connsiteY7" fmla="*/ 4817115 h 4818145"/>
              <a:gd name="connsiteX8" fmla="*/ 0 w 9150673"/>
              <a:gd name="connsiteY8" fmla="*/ 0 h 4818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50673" h="4818145">
                <a:moveTo>
                  <a:pt x="0" y="0"/>
                </a:moveTo>
                <a:lnTo>
                  <a:pt x="9147464" y="0"/>
                </a:lnTo>
                <a:cubicBezTo>
                  <a:pt x="9154968" y="4079"/>
                  <a:pt x="9146880" y="4807581"/>
                  <a:pt x="9147463" y="4813176"/>
                </a:cubicBezTo>
                <a:cubicBezTo>
                  <a:pt x="9148046" y="4818771"/>
                  <a:pt x="7385663" y="4807873"/>
                  <a:pt x="7381875" y="4813896"/>
                </a:cubicBezTo>
                <a:cubicBezTo>
                  <a:pt x="7378087" y="4819919"/>
                  <a:pt x="7380515" y="3538511"/>
                  <a:pt x="7379060" y="3543300"/>
                </a:cubicBezTo>
                <a:cubicBezTo>
                  <a:pt x="7377605" y="3548089"/>
                  <a:pt x="2806848" y="3545782"/>
                  <a:pt x="520742" y="3547023"/>
                </a:cubicBezTo>
                <a:cubicBezTo>
                  <a:pt x="519025" y="3777370"/>
                  <a:pt x="515915" y="4819927"/>
                  <a:pt x="515102" y="4818143"/>
                </a:cubicBezTo>
                <a:cubicBezTo>
                  <a:pt x="514289" y="4816359"/>
                  <a:pt x="257002" y="4818169"/>
                  <a:pt x="2770" y="4817115"/>
                </a:cubicBezTo>
                <a:cubicBezTo>
                  <a:pt x="1847" y="3211410"/>
                  <a:pt x="923" y="1605705"/>
                  <a:pt x="0" y="0"/>
                </a:cubicBez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2"/>
            </a:lvl1pPr>
          </a:lstStyle>
          <a:p>
            <a:endParaRPr lang="en-GB" dirty="0"/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837046" y="4027624"/>
            <a:ext cx="5281307" cy="1047600"/>
          </a:xfrm>
          <a:noFill/>
        </p:spPr>
        <p:txBody>
          <a:bodyPr lIns="0" tIns="0" rIns="0"/>
          <a:lstStyle>
            <a:lvl1pPr algn="l" defTabSz="121912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2400" b="0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837046" y="5096742"/>
            <a:ext cx="5281307" cy="365980"/>
          </a:xfrm>
        </p:spPr>
        <p:txBody>
          <a:bodyPr anchor="b" anchorCtr="0"/>
          <a:lstStyle>
            <a:lvl1pPr marL="0" indent="0" algn="l" defTabSz="357694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837046" y="5636735"/>
            <a:ext cx="5281307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35769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837046" y="5892934"/>
            <a:ext cx="5281307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35769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dirty="0"/>
              <a:t>Click to insert Role in Organisation</a:t>
            </a:r>
          </a:p>
        </p:txBody>
      </p:sp>
      <p:sp>
        <p:nvSpPr>
          <p:cNvPr id="98" name="Text Box 11" descr="&lt;COMPANY_NAME&gt;" title="&lt;COMPANY_NAME&gt;"/>
          <p:cNvSpPr txBox="1">
            <a:spLocks noChangeArrowheads="1"/>
          </p:cNvSpPr>
          <p:nvPr userDrawn="1"/>
        </p:nvSpPr>
        <p:spPr bwMode="auto">
          <a:xfrm>
            <a:off x="507890" y="6478120"/>
            <a:ext cx="2285554" cy="2377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00">
                <a:solidFill>
                  <a:schemeClr val="tx1"/>
                </a:solidFill>
                <a:latin typeface="+mn-lt"/>
                <a:cs typeface="Arial" pitchFamily="34" charset="0"/>
              </a:rPr>
              <a:t>Shell Nigeria</a:t>
            </a:r>
            <a:endParaRPr lang="en-GB" sz="80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99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77587" y="6478120"/>
            <a:ext cx="26667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3687" y="6478120"/>
            <a:ext cx="108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Date Month 2016</a:t>
            </a:r>
            <a:endParaRPr lang="en-GB" dirty="0"/>
          </a:p>
        </p:txBody>
      </p:sp>
      <p:sp>
        <p:nvSpPr>
          <p:cNvPr id="10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923675" y="6478120"/>
            <a:ext cx="330066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5712602"/>
      </p:ext>
    </p:extLst>
  </p:cSld>
  <p:clrMapOvr>
    <a:masterClrMapping/>
  </p:clrMapOvr>
  <p:transition/>
  <p:hf hdr="0" ftr="0" dt="0"/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4" pos="4484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400916" y="3554416"/>
            <a:ext cx="6968260" cy="2797175"/>
            <a:chOff x="400915" y="3554413"/>
            <a:chExt cx="6968260" cy="2797175"/>
          </a:xfrm>
        </p:grpSpPr>
        <p:sp>
          <p:nvSpPr>
            <p:cNvPr id="102" name="Rectangle 101"/>
            <p:cNvSpPr/>
            <p:nvPr userDrawn="1"/>
          </p:nvSpPr>
          <p:spPr bwMode="gray">
            <a:xfrm>
              <a:off x="504824" y="3554413"/>
              <a:ext cx="6864351" cy="2797175"/>
            </a:xfrm>
            <a:prstGeom prst="rect">
              <a:avLst/>
            </a:prstGeom>
            <a:solidFill>
              <a:srgbClr val="FFFFFF"/>
            </a:solidFill>
            <a:ln w="3175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800" dirty="0"/>
            </a:p>
          </p:txBody>
        </p:sp>
        <p:sp>
          <p:nvSpPr>
            <p:cNvPr id="103" name="Rectangle 102"/>
            <p:cNvSpPr/>
            <p:nvPr userDrawn="1"/>
          </p:nvSpPr>
          <p:spPr bwMode="gray">
            <a:xfrm>
              <a:off x="1832301" y="3829099"/>
              <a:ext cx="1269984" cy="76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800" dirty="0">
                <a:solidFill>
                  <a:schemeClr val="tx1"/>
                </a:solidFill>
              </a:endParaRPr>
            </a:p>
          </p:txBody>
        </p:sp>
        <p:pic>
          <p:nvPicPr>
            <p:cNvPr id="104" name="Picture 103" descr="PECTE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400915" y="3688499"/>
              <a:ext cx="1465237" cy="1465237"/>
            </a:xfrm>
            <a:prstGeom prst="rect">
              <a:avLst/>
            </a:prstGeom>
          </p:spPr>
        </p:pic>
      </p:grpSp>
      <p:sp>
        <p:nvSpPr>
          <p:cNvPr id="98" name="Picture Placeholder 2"/>
          <p:cNvSpPr>
            <a:spLocks noGrp="1"/>
          </p:cNvSpPr>
          <p:nvPr userDrawn="1">
            <p:ph type="pic" sz="quarter" idx="14"/>
          </p:nvPr>
        </p:nvSpPr>
        <p:spPr bwMode="auto">
          <a:xfrm>
            <a:off x="3" y="3"/>
            <a:ext cx="9162565" cy="6857999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9398360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9419626"/>
              <a:gd name="connsiteY0" fmla="*/ 0 h 6857999"/>
              <a:gd name="connsiteX1" fmla="*/ 9398360 w 9419626"/>
              <a:gd name="connsiteY1" fmla="*/ 0 h 6857999"/>
              <a:gd name="connsiteX2" fmla="*/ 9419626 w 9419626"/>
              <a:gd name="connsiteY2" fmla="*/ 6857999 h 6857999"/>
              <a:gd name="connsiteX3" fmla="*/ 0 w 9419626"/>
              <a:gd name="connsiteY3" fmla="*/ 6857999 h 6857999"/>
              <a:gd name="connsiteX4" fmla="*/ 0 w 9419626"/>
              <a:gd name="connsiteY4" fmla="*/ 0 h 6857999"/>
              <a:gd name="connsiteX5" fmla="*/ 753155 w 9419626"/>
              <a:gd name="connsiteY5" fmla="*/ 3560901 h 6857999"/>
              <a:gd name="connsiteX6" fmla="*/ 763913 w 9419626"/>
              <a:gd name="connsiteY6" fmla="*/ 6359075 h 6857999"/>
              <a:gd name="connsiteX7" fmla="*/ 7622163 w 9419626"/>
              <a:gd name="connsiteY7" fmla="*/ 6355342 h 6857999"/>
              <a:gd name="connsiteX8" fmla="*/ 7622603 w 9419626"/>
              <a:gd name="connsiteY8" fmla="*/ 3560901 h 6857999"/>
              <a:gd name="connsiteX9" fmla="*/ 753155 w 9419626"/>
              <a:gd name="connsiteY9" fmla="*/ 3560901 h 6857999"/>
              <a:gd name="connsiteX0" fmla="*/ 0 w 9419626"/>
              <a:gd name="connsiteY0" fmla="*/ 0 h 6857999"/>
              <a:gd name="connsiteX1" fmla="*/ 9398360 w 9419626"/>
              <a:gd name="connsiteY1" fmla="*/ 0 h 6857999"/>
              <a:gd name="connsiteX2" fmla="*/ 9419626 w 9419626"/>
              <a:gd name="connsiteY2" fmla="*/ 6857999 h 6857999"/>
              <a:gd name="connsiteX3" fmla="*/ 233916 w 9419626"/>
              <a:gd name="connsiteY3" fmla="*/ 6857999 h 6857999"/>
              <a:gd name="connsiteX4" fmla="*/ 0 w 9419626"/>
              <a:gd name="connsiteY4" fmla="*/ 0 h 6857999"/>
              <a:gd name="connsiteX5" fmla="*/ 753155 w 9419626"/>
              <a:gd name="connsiteY5" fmla="*/ 3560901 h 6857999"/>
              <a:gd name="connsiteX6" fmla="*/ 763913 w 9419626"/>
              <a:gd name="connsiteY6" fmla="*/ 6359075 h 6857999"/>
              <a:gd name="connsiteX7" fmla="*/ 7622163 w 9419626"/>
              <a:gd name="connsiteY7" fmla="*/ 6355342 h 6857999"/>
              <a:gd name="connsiteX8" fmla="*/ 7622603 w 9419626"/>
              <a:gd name="connsiteY8" fmla="*/ 3560901 h 6857999"/>
              <a:gd name="connsiteX9" fmla="*/ 753155 w 9419626"/>
              <a:gd name="connsiteY9" fmla="*/ 3560901 h 6857999"/>
              <a:gd name="connsiteX0" fmla="*/ 10633 w 9185710"/>
              <a:gd name="connsiteY0" fmla="*/ 0 h 6857999"/>
              <a:gd name="connsiteX1" fmla="*/ 9164444 w 9185710"/>
              <a:gd name="connsiteY1" fmla="*/ 0 h 6857999"/>
              <a:gd name="connsiteX2" fmla="*/ 9185710 w 9185710"/>
              <a:gd name="connsiteY2" fmla="*/ 6857999 h 6857999"/>
              <a:gd name="connsiteX3" fmla="*/ 0 w 9185710"/>
              <a:gd name="connsiteY3" fmla="*/ 6857999 h 6857999"/>
              <a:gd name="connsiteX4" fmla="*/ 10633 w 9185710"/>
              <a:gd name="connsiteY4" fmla="*/ 0 h 6857999"/>
              <a:gd name="connsiteX5" fmla="*/ 519239 w 9185710"/>
              <a:gd name="connsiteY5" fmla="*/ 3560901 h 6857999"/>
              <a:gd name="connsiteX6" fmla="*/ 529997 w 9185710"/>
              <a:gd name="connsiteY6" fmla="*/ 6359075 h 6857999"/>
              <a:gd name="connsiteX7" fmla="*/ 7388247 w 9185710"/>
              <a:gd name="connsiteY7" fmla="*/ 6355342 h 6857999"/>
              <a:gd name="connsiteX8" fmla="*/ 7388687 w 9185710"/>
              <a:gd name="connsiteY8" fmla="*/ 3560901 h 6857999"/>
              <a:gd name="connsiteX9" fmla="*/ 519239 w 9185710"/>
              <a:gd name="connsiteY9" fmla="*/ 3560901 h 6857999"/>
              <a:gd name="connsiteX0" fmla="*/ 1023 w 9186733"/>
              <a:gd name="connsiteY0" fmla="*/ 0 h 6857999"/>
              <a:gd name="connsiteX1" fmla="*/ 9165467 w 9186733"/>
              <a:gd name="connsiteY1" fmla="*/ 0 h 6857999"/>
              <a:gd name="connsiteX2" fmla="*/ 9186733 w 9186733"/>
              <a:gd name="connsiteY2" fmla="*/ 6857999 h 6857999"/>
              <a:gd name="connsiteX3" fmla="*/ 1023 w 9186733"/>
              <a:gd name="connsiteY3" fmla="*/ 6857999 h 6857999"/>
              <a:gd name="connsiteX4" fmla="*/ 1023 w 9186733"/>
              <a:gd name="connsiteY4" fmla="*/ 0 h 6857999"/>
              <a:gd name="connsiteX5" fmla="*/ 520262 w 9186733"/>
              <a:gd name="connsiteY5" fmla="*/ 3560901 h 6857999"/>
              <a:gd name="connsiteX6" fmla="*/ 531020 w 9186733"/>
              <a:gd name="connsiteY6" fmla="*/ 6359075 h 6857999"/>
              <a:gd name="connsiteX7" fmla="*/ 7389270 w 9186733"/>
              <a:gd name="connsiteY7" fmla="*/ 6355342 h 6857999"/>
              <a:gd name="connsiteX8" fmla="*/ 7389710 w 9186733"/>
              <a:gd name="connsiteY8" fmla="*/ 3560901 h 6857999"/>
              <a:gd name="connsiteX9" fmla="*/ 520262 w 9186733"/>
              <a:gd name="connsiteY9" fmla="*/ 3560901 h 6857999"/>
              <a:gd name="connsiteX0" fmla="*/ 1023 w 9187015"/>
              <a:gd name="connsiteY0" fmla="*/ 0 h 6857999"/>
              <a:gd name="connsiteX1" fmla="*/ 9184703 w 9187015"/>
              <a:gd name="connsiteY1" fmla="*/ 0 h 6857999"/>
              <a:gd name="connsiteX2" fmla="*/ 9186733 w 9187015"/>
              <a:gd name="connsiteY2" fmla="*/ 6857999 h 6857999"/>
              <a:gd name="connsiteX3" fmla="*/ 1023 w 9187015"/>
              <a:gd name="connsiteY3" fmla="*/ 6857999 h 6857999"/>
              <a:gd name="connsiteX4" fmla="*/ 1023 w 9187015"/>
              <a:gd name="connsiteY4" fmla="*/ 0 h 6857999"/>
              <a:gd name="connsiteX5" fmla="*/ 520262 w 9187015"/>
              <a:gd name="connsiteY5" fmla="*/ 3560901 h 6857999"/>
              <a:gd name="connsiteX6" fmla="*/ 531020 w 9187015"/>
              <a:gd name="connsiteY6" fmla="*/ 6359075 h 6857999"/>
              <a:gd name="connsiteX7" fmla="*/ 7389270 w 9187015"/>
              <a:gd name="connsiteY7" fmla="*/ 6355342 h 6857999"/>
              <a:gd name="connsiteX8" fmla="*/ 7389710 w 9187015"/>
              <a:gd name="connsiteY8" fmla="*/ 3560901 h 6857999"/>
              <a:gd name="connsiteX9" fmla="*/ 520262 w 9187015"/>
              <a:gd name="connsiteY9" fmla="*/ 3560901 h 6857999"/>
              <a:gd name="connsiteX0" fmla="*/ 1023 w 9187015"/>
              <a:gd name="connsiteY0" fmla="*/ 0 h 6857999"/>
              <a:gd name="connsiteX1" fmla="*/ 9184703 w 9187015"/>
              <a:gd name="connsiteY1" fmla="*/ 0 h 6857999"/>
              <a:gd name="connsiteX2" fmla="*/ 9186733 w 9187015"/>
              <a:gd name="connsiteY2" fmla="*/ 6857999 h 6857999"/>
              <a:gd name="connsiteX3" fmla="*/ 1023 w 9187015"/>
              <a:gd name="connsiteY3" fmla="*/ 6857999 h 6857999"/>
              <a:gd name="connsiteX4" fmla="*/ 1023 w 9187015"/>
              <a:gd name="connsiteY4" fmla="*/ 0 h 6857999"/>
              <a:gd name="connsiteX5" fmla="*/ 520262 w 9187015"/>
              <a:gd name="connsiteY5" fmla="*/ 3560901 h 6857999"/>
              <a:gd name="connsiteX6" fmla="*/ 531020 w 9187015"/>
              <a:gd name="connsiteY6" fmla="*/ 6359075 h 6857999"/>
              <a:gd name="connsiteX7" fmla="*/ 7389270 w 9187015"/>
              <a:gd name="connsiteY7" fmla="*/ 6355342 h 6857999"/>
              <a:gd name="connsiteX8" fmla="*/ 7405739 w 9187015"/>
              <a:gd name="connsiteY8" fmla="*/ 3560901 h 6857999"/>
              <a:gd name="connsiteX9" fmla="*/ 520262 w 9187015"/>
              <a:gd name="connsiteY9" fmla="*/ 3560901 h 6857999"/>
              <a:gd name="connsiteX0" fmla="*/ 1023 w 9187015"/>
              <a:gd name="connsiteY0" fmla="*/ 0 h 6857999"/>
              <a:gd name="connsiteX1" fmla="*/ 9184703 w 9187015"/>
              <a:gd name="connsiteY1" fmla="*/ 0 h 6857999"/>
              <a:gd name="connsiteX2" fmla="*/ 9186733 w 9187015"/>
              <a:gd name="connsiteY2" fmla="*/ 6857999 h 6857999"/>
              <a:gd name="connsiteX3" fmla="*/ 1023 w 9187015"/>
              <a:gd name="connsiteY3" fmla="*/ 6857999 h 6857999"/>
              <a:gd name="connsiteX4" fmla="*/ 1023 w 9187015"/>
              <a:gd name="connsiteY4" fmla="*/ 0 h 6857999"/>
              <a:gd name="connsiteX5" fmla="*/ 520262 w 9187015"/>
              <a:gd name="connsiteY5" fmla="*/ 3560901 h 6857999"/>
              <a:gd name="connsiteX6" fmla="*/ 531020 w 9187015"/>
              <a:gd name="connsiteY6" fmla="*/ 6359075 h 6857999"/>
              <a:gd name="connsiteX7" fmla="*/ 7405299 w 9187015"/>
              <a:gd name="connsiteY7" fmla="*/ 6355342 h 6857999"/>
              <a:gd name="connsiteX8" fmla="*/ 7405739 w 9187015"/>
              <a:gd name="connsiteY8" fmla="*/ 3560901 h 6857999"/>
              <a:gd name="connsiteX9" fmla="*/ 520262 w 9187015"/>
              <a:gd name="connsiteY9" fmla="*/ 356090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87015" h="6857999">
                <a:moveTo>
                  <a:pt x="1023" y="0"/>
                </a:moveTo>
                <a:lnTo>
                  <a:pt x="9184703" y="0"/>
                </a:lnTo>
                <a:cubicBezTo>
                  <a:pt x="9191792" y="2286000"/>
                  <a:pt x="9179644" y="4571999"/>
                  <a:pt x="9186733" y="6857999"/>
                </a:cubicBezTo>
                <a:lnTo>
                  <a:pt x="1023" y="6857999"/>
                </a:lnTo>
                <a:cubicBezTo>
                  <a:pt x="4567" y="4571999"/>
                  <a:pt x="-2521" y="2286000"/>
                  <a:pt x="1023" y="0"/>
                </a:cubicBezTo>
                <a:close/>
                <a:moveTo>
                  <a:pt x="520262" y="3560901"/>
                </a:moveTo>
                <a:lnTo>
                  <a:pt x="531020" y="6359075"/>
                </a:lnTo>
                <a:lnTo>
                  <a:pt x="7405299" y="6355342"/>
                </a:lnTo>
                <a:cubicBezTo>
                  <a:pt x="7401713" y="5510947"/>
                  <a:pt x="7409325" y="4405296"/>
                  <a:pt x="7405739" y="3560901"/>
                </a:cubicBezTo>
                <a:lnTo>
                  <a:pt x="520262" y="3560901"/>
                </a:ln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2"/>
            </a:lvl1pPr>
          </a:lstStyle>
          <a:p>
            <a:endParaRPr lang="en-GB" dirty="0"/>
          </a:p>
        </p:txBody>
      </p:sp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1837046" y="4027624"/>
            <a:ext cx="5281307" cy="1047600"/>
          </a:xfrm>
          <a:noFill/>
        </p:spPr>
        <p:txBody>
          <a:bodyPr lIns="0" tIns="0" rIns="0"/>
          <a:lstStyle>
            <a:lvl1pPr algn="l" defTabSz="121912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2400" b="0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837046" y="5096742"/>
            <a:ext cx="5281307" cy="365980"/>
          </a:xfrm>
        </p:spPr>
        <p:txBody>
          <a:bodyPr anchor="b" anchorCtr="0"/>
          <a:lstStyle>
            <a:lvl1pPr marL="0" indent="0" algn="l" defTabSz="357694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837046" y="5636735"/>
            <a:ext cx="5281307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35769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dirty="0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837046" y="5892934"/>
            <a:ext cx="5281307" cy="237600"/>
          </a:xfrm>
        </p:spPr>
        <p:txBody>
          <a:bodyPr anchor="t" anchorCtr="0"/>
          <a:lstStyle>
            <a:lvl1pPr>
              <a:buNone/>
              <a:defRPr lang="en-GB" sz="1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35769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GB" dirty="0"/>
              <a:t>Click to insert Role in Organisation</a:t>
            </a:r>
          </a:p>
        </p:txBody>
      </p:sp>
      <p:sp>
        <p:nvSpPr>
          <p:cNvPr id="99" name="Text Box 11" descr="&lt;COMPANY_NAME&gt;" title="&lt;COMPANY_NAME&gt;"/>
          <p:cNvSpPr txBox="1">
            <a:spLocks noChangeArrowheads="1"/>
          </p:cNvSpPr>
          <p:nvPr userDrawn="1"/>
        </p:nvSpPr>
        <p:spPr bwMode="auto">
          <a:xfrm>
            <a:off x="507890" y="6478120"/>
            <a:ext cx="2285554" cy="2377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00">
                <a:solidFill>
                  <a:schemeClr val="tx1"/>
                </a:solidFill>
                <a:latin typeface="+mn-lt"/>
                <a:cs typeface="Arial" pitchFamily="34" charset="0"/>
              </a:rPr>
              <a:t>Shell Nigeria</a:t>
            </a:r>
            <a:endParaRPr lang="en-GB" sz="80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0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77587" y="6478120"/>
            <a:ext cx="26667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1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3687" y="6478120"/>
            <a:ext cx="108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Date Month 2016</a:t>
            </a:r>
            <a:endParaRPr lang="en-GB" dirty="0"/>
          </a:p>
        </p:txBody>
      </p:sp>
      <p:sp>
        <p:nvSpPr>
          <p:cNvPr id="10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923675" y="6478120"/>
            <a:ext cx="330066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6339532"/>
      </p:ext>
    </p:extLst>
  </p:cSld>
  <p:clrMapOvr>
    <a:masterClrMapping/>
  </p:clrMapOvr>
  <p:transition/>
  <p:hf hdr="0" ftr="0" dt="0"/>
  <p:extLst mod="1">
    <p:ext uri="{DCECCB84-F9BA-43D5-87BE-67443E8EF086}">
      <p15:sldGuideLst xmlns:p15="http://schemas.microsoft.com/office/powerpoint/2012/main">
        <p15:guide id="3" orient="horz" pos="4001" userDrawn="1">
          <p15:clr>
            <a:srgbClr val="FBAE40"/>
          </p15:clr>
        </p15:guide>
        <p15:guide id="4" pos="464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4546" y="728663"/>
            <a:ext cx="8134630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914364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Click to edit Master 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4826" y="1557341"/>
            <a:ext cx="8134350" cy="469423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 smtClean="0"/>
            </a:lvl5pPr>
            <a:lvl6pPr>
              <a:defRPr lang="en-GB" dirty="0" smtClean="0"/>
            </a:lvl6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</p:txBody>
      </p:sp>
      <p:sp>
        <p:nvSpPr>
          <p:cNvPr id="9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77587" y="6478120"/>
            <a:ext cx="26667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3687" y="6478120"/>
            <a:ext cx="108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Date Month 2016</a:t>
            </a:r>
            <a:endParaRPr lang="en-GB" dirty="0"/>
          </a:p>
        </p:txBody>
      </p:sp>
      <p:sp>
        <p:nvSpPr>
          <p:cNvPr id="1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923675" y="6478120"/>
            <a:ext cx="330066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  <p:transition/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9146382" cy="6858000"/>
          </a:xfrm>
          <a:custGeom>
            <a:avLst/>
            <a:gdLst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63913 w 12194723"/>
              <a:gd name="connsiteY5" fmla="*/ 763913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63913 w 12194723"/>
              <a:gd name="connsiteY9" fmla="*/ 763913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11430810 w 12194723"/>
              <a:gd name="connsiteY8" fmla="*/ 763913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1143081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97906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33360 w 12194723"/>
              <a:gd name="connsiteY7" fmla="*/ 6094086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18431 w 12194723"/>
              <a:gd name="connsiteY7" fmla="*/ 6359075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094086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753155 w 12194723"/>
              <a:gd name="connsiteY5" fmla="*/ 3560901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753155 w 12194723"/>
              <a:gd name="connsiteY9" fmla="*/ 356090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482698 w 12194723"/>
              <a:gd name="connsiteY5" fmla="*/ 48285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482698 w 12194723"/>
              <a:gd name="connsiteY9" fmla="*/ 48285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763913 w 12194723"/>
              <a:gd name="connsiteY6" fmla="*/ 6359075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7622603 w 12194723"/>
              <a:gd name="connsiteY8" fmla="*/ 3560901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7622163 w 12194723"/>
              <a:gd name="connsiteY7" fmla="*/ 6355342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4129 w 12194723"/>
              <a:gd name="connsiteY5" fmla="*/ 501900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4129 w 12194723"/>
              <a:gd name="connsiteY9" fmla="*/ 501900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62276 w 12194723"/>
              <a:gd name="connsiteY7" fmla="*/ 675759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06335 w 12194723"/>
              <a:gd name="connsiteY6" fmla="*/ 666613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4281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4281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88474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8470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2 w 12194723"/>
              <a:gd name="connsiteY7" fmla="*/ 587653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8949 w 12194723"/>
              <a:gd name="connsiteY8" fmla="*/ 5086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3833 w 12194723"/>
              <a:gd name="connsiteY8" fmla="*/ 5061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96313 w 12194723"/>
              <a:gd name="connsiteY8" fmla="*/ 486123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966332 w 12194723"/>
              <a:gd name="connsiteY8" fmla="*/ 381191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6445 w 12194723"/>
              <a:gd name="connsiteY8" fmla="*/ 558575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61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88944 w 12194723"/>
              <a:gd name="connsiteY8" fmla="*/ 503610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5396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4 w 12194723"/>
              <a:gd name="connsiteY8" fmla="*/ 503609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5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81325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06662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06662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6 w 12194723"/>
              <a:gd name="connsiteY8" fmla="*/ 506108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71457 w 12194723"/>
              <a:gd name="connsiteY8" fmla="*/ 513252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12194723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12194723"/>
              <a:gd name="connsiteY0" fmla="*/ 0 h 6857999"/>
              <a:gd name="connsiteX1" fmla="*/ 9108537 w 12194723"/>
              <a:gd name="connsiteY1" fmla="*/ 0 h 6857999"/>
              <a:gd name="connsiteX2" fmla="*/ 12194723 w 12194723"/>
              <a:gd name="connsiteY2" fmla="*/ 6857999 h 6857999"/>
              <a:gd name="connsiteX3" fmla="*/ 0 w 12194723"/>
              <a:gd name="connsiteY3" fmla="*/ 6857999 h 6857999"/>
              <a:gd name="connsiteX4" fmla="*/ 0 w 12194723"/>
              <a:gd name="connsiteY4" fmla="*/ 0 h 6857999"/>
              <a:gd name="connsiteX5" fmla="*/ 508891 w 12194723"/>
              <a:gd name="connsiteY5" fmla="*/ 511425 h 6857999"/>
              <a:gd name="connsiteX6" fmla="*/ 511097 w 12194723"/>
              <a:gd name="connsiteY6" fmla="*/ 583270 h 6857999"/>
              <a:gd name="connsiteX7" fmla="*/ 1774181 w 12194723"/>
              <a:gd name="connsiteY7" fmla="*/ 585272 h 6857999"/>
              <a:gd name="connsiteX8" fmla="*/ 1769076 w 12194723"/>
              <a:gd name="connsiteY8" fmla="*/ 508490 h 6857999"/>
              <a:gd name="connsiteX9" fmla="*/ 508891 w 12194723"/>
              <a:gd name="connsiteY9" fmla="*/ 511425 h 6857999"/>
              <a:gd name="connsiteX0" fmla="*/ 0 w 9160493"/>
              <a:gd name="connsiteY0" fmla="*/ 0 h 6857999"/>
              <a:gd name="connsiteX1" fmla="*/ 9108537 w 9160493"/>
              <a:gd name="connsiteY1" fmla="*/ 0 h 6857999"/>
              <a:gd name="connsiteX2" fmla="*/ 9160493 w 9160493"/>
              <a:gd name="connsiteY2" fmla="*/ 6857999 h 6857999"/>
              <a:gd name="connsiteX3" fmla="*/ 0 w 9160493"/>
              <a:gd name="connsiteY3" fmla="*/ 6857999 h 6857999"/>
              <a:gd name="connsiteX4" fmla="*/ 0 w 9160493"/>
              <a:gd name="connsiteY4" fmla="*/ 0 h 6857999"/>
              <a:gd name="connsiteX5" fmla="*/ 508891 w 9160493"/>
              <a:gd name="connsiteY5" fmla="*/ 511425 h 6857999"/>
              <a:gd name="connsiteX6" fmla="*/ 511097 w 9160493"/>
              <a:gd name="connsiteY6" fmla="*/ 583270 h 6857999"/>
              <a:gd name="connsiteX7" fmla="*/ 1774181 w 9160493"/>
              <a:gd name="connsiteY7" fmla="*/ 585272 h 6857999"/>
              <a:gd name="connsiteX8" fmla="*/ 1769076 w 9160493"/>
              <a:gd name="connsiteY8" fmla="*/ 508490 h 6857999"/>
              <a:gd name="connsiteX9" fmla="*/ 508891 w 9160493"/>
              <a:gd name="connsiteY9" fmla="*/ 511425 h 6857999"/>
              <a:gd name="connsiteX0" fmla="*/ 0 w 9160493"/>
              <a:gd name="connsiteY0" fmla="*/ 0 h 6857999"/>
              <a:gd name="connsiteX1" fmla="*/ 9151400 w 9160493"/>
              <a:gd name="connsiteY1" fmla="*/ 0 h 6857999"/>
              <a:gd name="connsiteX2" fmla="*/ 9160493 w 9160493"/>
              <a:gd name="connsiteY2" fmla="*/ 6857999 h 6857999"/>
              <a:gd name="connsiteX3" fmla="*/ 0 w 9160493"/>
              <a:gd name="connsiteY3" fmla="*/ 6857999 h 6857999"/>
              <a:gd name="connsiteX4" fmla="*/ 0 w 9160493"/>
              <a:gd name="connsiteY4" fmla="*/ 0 h 6857999"/>
              <a:gd name="connsiteX5" fmla="*/ 508891 w 9160493"/>
              <a:gd name="connsiteY5" fmla="*/ 511425 h 6857999"/>
              <a:gd name="connsiteX6" fmla="*/ 511097 w 9160493"/>
              <a:gd name="connsiteY6" fmla="*/ 583270 h 6857999"/>
              <a:gd name="connsiteX7" fmla="*/ 1774181 w 9160493"/>
              <a:gd name="connsiteY7" fmla="*/ 585272 h 6857999"/>
              <a:gd name="connsiteX8" fmla="*/ 1769076 w 9160493"/>
              <a:gd name="connsiteY8" fmla="*/ 508490 h 6857999"/>
              <a:gd name="connsiteX9" fmla="*/ 508891 w 9160493"/>
              <a:gd name="connsiteY9" fmla="*/ 511425 h 6857999"/>
              <a:gd name="connsiteX0" fmla="*/ 0 w 9154778"/>
              <a:gd name="connsiteY0" fmla="*/ 0 h 6857999"/>
              <a:gd name="connsiteX1" fmla="*/ 9151400 w 9154778"/>
              <a:gd name="connsiteY1" fmla="*/ 0 h 6857999"/>
              <a:gd name="connsiteX2" fmla="*/ 9154778 w 9154778"/>
              <a:gd name="connsiteY2" fmla="*/ 6857999 h 6857999"/>
              <a:gd name="connsiteX3" fmla="*/ 0 w 9154778"/>
              <a:gd name="connsiteY3" fmla="*/ 6857999 h 6857999"/>
              <a:gd name="connsiteX4" fmla="*/ 0 w 9154778"/>
              <a:gd name="connsiteY4" fmla="*/ 0 h 6857999"/>
              <a:gd name="connsiteX5" fmla="*/ 508891 w 9154778"/>
              <a:gd name="connsiteY5" fmla="*/ 511425 h 6857999"/>
              <a:gd name="connsiteX6" fmla="*/ 511097 w 9154778"/>
              <a:gd name="connsiteY6" fmla="*/ 583270 h 6857999"/>
              <a:gd name="connsiteX7" fmla="*/ 1774181 w 9154778"/>
              <a:gd name="connsiteY7" fmla="*/ 585272 h 6857999"/>
              <a:gd name="connsiteX8" fmla="*/ 1769076 w 9154778"/>
              <a:gd name="connsiteY8" fmla="*/ 508490 h 6857999"/>
              <a:gd name="connsiteX9" fmla="*/ 508891 w 9154778"/>
              <a:gd name="connsiteY9" fmla="*/ 511425 h 6857999"/>
              <a:gd name="connsiteX0" fmla="*/ 0 w 9154778"/>
              <a:gd name="connsiteY0" fmla="*/ 0 h 6857999"/>
              <a:gd name="connsiteX1" fmla="*/ 9151400 w 9154778"/>
              <a:gd name="connsiteY1" fmla="*/ 0 h 6857999"/>
              <a:gd name="connsiteX2" fmla="*/ 9154778 w 9154778"/>
              <a:gd name="connsiteY2" fmla="*/ 6857999 h 6857999"/>
              <a:gd name="connsiteX3" fmla="*/ 0 w 9154778"/>
              <a:gd name="connsiteY3" fmla="*/ 6857999 h 6857999"/>
              <a:gd name="connsiteX4" fmla="*/ 0 w 9154778"/>
              <a:gd name="connsiteY4" fmla="*/ 0 h 6857999"/>
              <a:gd name="connsiteX5" fmla="*/ 508891 w 9154778"/>
              <a:gd name="connsiteY5" fmla="*/ 511425 h 6857999"/>
              <a:gd name="connsiteX6" fmla="*/ 511097 w 9154778"/>
              <a:gd name="connsiteY6" fmla="*/ 583270 h 6857999"/>
              <a:gd name="connsiteX7" fmla="*/ 1774181 w 9154778"/>
              <a:gd name="connsiteY7" fmla="*/ 585272 h 6857999"/>
              <a:gd name="connsiteX8" fmla="*/ 1769076 w 9154778"/>
              <a:gd name="connsiteY8" fmla="*/ 508490 h 6857999"/>
              <a:gd name="connsiteX9" fmla="*/ 508891 w 9154778"/>
              <a:gd name="connsiteY9" fmla="*/ 5114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54778" h="6857999">
                <a:moveTo>
                  <a:pt x="0" y="0"/>
                </a:moveTo>
                <a:lnTo>
                  <a:pt x="9151400" y="0"/>
                </a:lnTo>
                <a:lnTo>
                  <a:pt x="9154778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508891" y="511425"/>
                </a:moveTo>
                <a:cubicBezTo>
                  <a:pt x="509626" y="566329"/>
                  <a:pt x="510362" y="528366"/>
                  <a:pt x="511097" y="583270"/>
                </a:cubicBezTo>
                <a:lnTo>
                  <a:pt x="1774181" y="585272"/>
                </a:lnTo>
                <a:cubicBezTo>
                  <a:pt x="1771177" y="584735"/>
                  <a:pt x="1768022" y="508891"/>
                  <a:pt x="1769076" y="508490"/>
                </a:cubicBezTo>
                <a:cubicBezTo>
                  <a:pt x="1770130" y="508089"/>
                  <a:pt x="928953" y="510447"/>
                  <a:pt x="508891" y="511425"/>
                </a:cubicBezTo>
                <a:close/>
              </a:path>
            </a:pathLst>
          </a:cu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2"/>
            </a:lvl1pPr>
          </a:lstStyle>
          <a:p>
            <a:endParaRPr lang="en-GB" dirty="0"/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4546" y="728663"/>
            <a:ext cx="8134630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914364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Click to edit Master 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04826" y="1557341"/>
            <a:ext cx="8134350" cy="469423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 smtClean="0"/>
            </a:lvl5pPr>
            <a:lvl6pPr>
              <a:defRPr lang="en-GB" dirty="0" smtClean="0"/>
            </a:lvl6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</p:txBody>
      </p:sp>
      <p:sp>
        <p:nvSpPr>
          <p:cNvPr id="9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77587" y="6478120"/>
            <a:ext cx="26667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3687" y="6478120"/>
            <a:ext cx="108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Date Month 2016</a:t>
            </a:r>
            <a:endParaRPr lang="en-GB" dirty="0"/>
          </a:p>
        </p:txBody>
      </p:sp>
      <p:sp>
        <p:nvSpPr>
          <p:cNvPr id="1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923675" y="6478120"/>
            <a:ext cx="330066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7991037"/>
      </p:ext>
    </p:extLst>
  </p:cSld>
  <p:clrMapOvr>
    <a:masterClrMapping/>
  </p:clrMapOvr>
  <p:transition/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 Lin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4826" y="728663"/>
            <a:ext cx="8134350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4826" y="1557341"/>
            <a:ext cx="8134350" cy="469423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 smtClean="0"/>
            </a:lvl5pPr>
            <a:lvl6pPr>
              <a:defRPr lang="en-GB" dirty="0" smtClean="0"/>
            </a:lvl6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</p:txBody>
      </p:sp>
      <p:sp>
        <p:nvSpPr>
          <p:cNvPr id="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77587" y="6478120"/>
            <a:ext cx="26667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3687" y="6478120"/>
            <a:ext cx="108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Date Month 2016</a:t>
            </a:r>
            <a:endParaRPr lang="en-GB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923675" y="6478120"/>
            <a:ext cx="330066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  <p:transition/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4826" y="728663"/>
            <a:ext cx="8134350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/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504826" y="1557341"/>
            <a:ext cx="8134350" cy="4694237"/>
          </a:xfrm>
        </p:spPr>
        <p:txBody>
          <a:bodyPr/>
          <a:lstStyle>
            <a:lvl1pPr marL="0" indent="0" defTabSz="268277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defRPr sz="1600"/>
            </a:lvl1pPr>
            <a:lvl2pPr marL="215992" indent="-215992" defTabSz="268277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defRPr sz="1600"/>
            </a:lvl2pPr>
            <a:lvl3pPr marL="410383" indent="-194393" defTabSz="268277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3pPr>
            <a:lvl4pPr marL="575977" indent="-187193" defTabSz="268277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600"/>
            </a:lvl4pPr>
            <a:lvl5pPr marL="766769" indent="-154794" defTabSz="268277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400"/>
            </a:lvl5pPr>
            <a:lvl6pPr marL="914364" indent="-143994" defTabSz="268277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SzPct val="75000"/>
              <a:buFont typeface="Wingdings" pitchFamily="2" charset="2"/>
              <a:buChar char=""/>
              <a:defRPr sz="1200"/>
            </a:lvl6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</p:txBody>
      </p:sp>
      <p:sp>
        <p:nvSpPr>
          <p:cNvPr id="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77587" y="6478120"/>
            <a:ext cx="26667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3687" y="6478120"/>
            <a:ext cx="108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Date Month 2016</a:t>
            </a:r>
            <a:endParaRPr lang="en-GB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923675" y="6478120"/>
            <a:ext cx="330066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  <p:transition/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4828" y="728663"/>
            <a:ext cx="8132199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914364" rtl="0" eaLnBrk="1" latinLnBrk="0" hangingPunct="1">
              <a:spcBef>
                <a:spcPct val="0"/>
              </a:spcBef>
              <a:buNone/>
            </a:pPr>
            <a:r>
              <a:rPr lang="en-GB" dirty="0"/>
              <a:t>Click to edit Master title style</a:t>
            </a:r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4716463" y="1557340"/>
            <a:ext cx="3922712" cy="4694236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 smtClean="0"/>
            </a:lvl5pPr>
            <a:lvl6pPr>
              <a:defRPr lang="en-GB" dirty="0" smtClean="0"/>
            </a:lvl6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0"/>
            <a:endParaRPr lang="en-GB" dirty="0"/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504828" y="1557341"/>
            <a:ext cx="3922713" cy="469423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en-GB" dirty="0" smtClean="0"/>
            </a:lvl5pPr>
            <a:lvl6pPr>
              <a:defRPr lang="en-GB" dirty="0" smtClean="0"/>
            </a:lvl6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</p:txBody>
      </p:sp>
      <p:sp>
        <p:nvSpPr>
          <p:cNvPr id="9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77587" y="6478120"/>
            <a:ext cx="26667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3687" y="6478120"/>
            <a:ext cx="108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Date Month 2016</a:t>
            </a:r>
            <a:endParaRPr lang="en-GB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923675" y="6478120"/>
            <a:ext cx="330066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  <p:transition/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3" Type="http://schemas.openxmlformats.org/officeDocument/2006/relationships/slideLayout" Target="../slideLayouts/slideLayout23.xml"/><Relationship Id="rId21" Type="http://schemas.openxmlformats.org/officeDocument/2006/relationships/tags" Target="../tags/tag15.xml"/><Relationship Id="rId7" Type="http://schemas.openxmlformats.org/officeDocument/2006/relationships/tags" Target="../tags/tag1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image" Target="../media/image3.emf"/><Relationship Id="rId2" Type="http://schemas.openxmlformats.org/officeDocument/2006/relationships/slideLayout" Target="../slideLayouts/slideLayout22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2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5.xml"/><Relationship Id="rId24" Type="http://schemas.openxmlformats.org/officeDocument/2006/relationships/oleObject" Target="../embeddings/oleObject1.bin"/><Relationship Id="rId5" Type="http://schemas.openxmlformats.org/officeDocument/2006/relationships/theme" Target="../theme/theme2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24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4825" y="1556952"/>
            <a:ext cx="8134350" cy="46944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4828" y="728665"/>
            <a:ext cx="8134351" cy="755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8" name="Rectangle 67"/>
          <p:cNvSpPr/>
          <p:nvPr userDrawn="1"/>
        </p:nvSpPr>
        <p:spPr bwMode="gray">
          <a:xfrm>
            <a:off x="508010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chemeClr val="tx1"/>
              </a:solidFill>
            </a:endParaRPr>
          </a:p>
        </p:txBody>
      </p:sp>
      <p:sp>
        <p:nvSpPr>
          <p:cNvPr id="69" name="Text Box 11" descr="&lt;COMPANY_NAME&gt;" title="&lt;COMPANY_NAME&gt;"/>
          <p:cNvSpPr txBox="1">
            <a:spLocks noChangeArrowheads="1"/>
          </p:cNvSpPr>
          <p:nvPr userDrawn="1"/>
        </p:nvSpPr>
        <p:spPr bwMode="auto">
          <a:xfrm>
            <a:off x="507890" y="6478120"/>
            <a:ext cx="2285554" cy="2377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GB" sz="800">
                <a:solidFill>
                  <a:schemeClr val="tx1"/>
                </a:solidFill>
                <a:latin typeface="+mn-lt"/>
                <a:cs typeface="Arial" pitchFamily="34" charset="0"/>
              </a:rPr>
              <a:t>Shell Nigeria</a:t>
            </a:r>
            <a:endParaRPr lang="en-GB" sz="80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70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77587" y="6478120"/>
            <a:ext cx="26667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1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3687" y="6478120"/>
            <a:ext cx="1080000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Date Month 2016</a:t>
            </a:r>
            <a:endParaRPr lang="en-GB" dirty="0"/>
          </a:p>
        </p:txBody>
      </p:sp>
      <p:sp>
        <p:nvSpPr>
          <p:cNvPr id="7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923675" y="6478120"/>
            <a:ext cx="3300663" cy="23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5" r:id="rId2"/>
    <p:sldLayoutId id="2147483696" r:id="rId3"/>
    <p:sldLayoutId id="2147483697" r:id="rId4"/>
    <p:sldLayoutId id="2147483693" r:id="rId5"/>
    <p:sldLayoutId id="2147483699" r:id="rId6"/>
    <p:sldLayoutId id="2147483689" r:id="rId7"/>
    <p:sldLayoutId id="2147483691" r:id="rId8"/>
    <p:sldLayoutId id="2147483667" r:id="rId9"/>
    <p:sldLayoutId id="2147483690" r:id="rId10"/>
    <p:sldLayoutId id="2147483692" r:id="rId11"/>
    <p:sldLayoutId id="2147483694" r:id="rId12"/>
    <p:sldLayoutId id="2147483680" r:id="rId13"/>
    <p:sldLayoutId id="2147483698" r:id="rId14"/>
    <p:sldLayoutId id="2147483678" r:id="rId15"/>
    <p:sldLayoutId id="2147483679" r:id="rId16"/>
    <p:sldLayoutId id="2147483700" r:id="rId17"/>
    <p:sldLayoutId id="2147483681" r:id="rId18"/>
    <p:sldLayoutId id="2147483682" r:id="rId19"/>
    <p:sldLayoutId id="2147483683" r:id="rId20"/>
  </p:sldLayoutIdLst>
  <p:transition>
    <p:fade/>
  </p:transition>
  <p:hf hdr="0" ftr="0" dt="0"/>
  <p:txStyles>
    <p:titleStyle>
      <a:lvl1pPr algn="l" defTabSz="914364" rtl="0" eaLnBrk="1" latinLnBrk="0" hangingPunct="1">
        <a:spcBef>
          <a:spcPct val="0"/>
        </a:spcBef>
        <a:buNone/>
        <a:defRPr lang="en-GB" sz="2400" b="0" kern="1200" cap="none" baseline="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68277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77189" indent="-277189" algn="l" defTabSz="268277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Char char="n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21980" indent="-251990" algn="l" defTabSz="268277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755970" indent="-241190" algn="l" defTabSz="268277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20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64762" indent="-212392" algn="l" defTabSz="268277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44754" indent="-179993" algn="l" defTabSz="268277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75000"/>
        <a:buFont typeface="Wingdings" pitchFamily="2" charset="2"/>
        <a:buChar char="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0" algn="l" defTabSz="91436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0" algn="l" defTabSz="91436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4" indent="-228590" algn="l" defTabSz="91436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4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1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18" userDrawn="1">
          <p15:clr>
            <a:srgbClr val="F26B43"/>
          </p15:clr>
        </p15:guide>
        <p15:guide id="3" pos="2880" userDrawn="1">
          <p15:clr>
            <a:srgbClr val="F26B43"/>
          </p15:clr>
        </p15:guide>
        <p15:guide id="4" pos="5442" userDrawn="1">
          <p15:clr>
            <a:srgbClr val="F26B43"/>
          </p15:clr>
        </p15:guide>
        <p15:guide id="5" orient="horz" pos="323" userDrawn="1">
          <p15:clr>
            <a:srgbClr val="F26B43"/>
          </p15:clr>
        </p15:guide>
        <p15:guide id="6" orient="horz" pos="368" userDrawn="1">
          <p15:clr>
            <a:srgbClr val="F26B43"/>
          </p15:clr>
        </p15:guide>
        <p15:guide id="7" orient="horz" pos="460" userDrawn="1">
          <p15:clr>
            <a:srgbClr val="F26B43"/>
          </p15:clr>
        </p15:guide>
        <p15:guide id="8" orient="horz" pos="935" userDrawn="1">
          <p15:clr>
            <a:srgbClr val="F26B43"/>
          </p15:clr>
        </p15:guide>
        <p15:guide id="9" orient="horz" pos="982" userDrawn="1">
          <p15:clr>
            <a:srgbClr val="F26B43"/>
          </p15:clr>
        </p15:guide>
        <p15:guide id="10" orient="horz" pos="3938" userDrawn="1">
          <p15:clr>
            <a:srgbClr val="F26B43"/>
          </p15:clr>
        </p15:guide>
        <p15:guide id="11" orient="horz" pos="4078" userDrawn="1">
          <p15:clr>
            <a:srgbClr val="F26B43"/>
          </p15:clr>
        </p15:guide>
        <p15:guide id="12" orient="horz" pos="4229" userDrawn="1">
          <p15:clr>
            <a:srgbClr val="F26B43"/>
          </p15:clr>
        </p15:guide>
        <p15:guide id="13" pos="1111" userDrawn="1">
          <p15:clr>
            <a:srgbClr val="F26B43"/>
          </p15:clr>
        </p15:guide>
        <p15:guide id="14" pos="2971" userDrawn="1">
          <p15:clr>
            <a:srgbClr val="F26B43"/>
          </p15:clr>
        </p15:guide>
        <p15:guide id="15" pos="278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7968562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45"/>
            <a:endParaRPr lang="en-US" sz="6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7" y="2825007"/>
            <a:ext cx="4389768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81009" y="623131"/>
            <a:ext cx="8391517" cy="253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381008" y="290023"/>
            <a:ext cx="46647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9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381009" y="993244"/>
            <a:ext cx="839151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77117" y="2374720"/>
            <a:ext cx="4389768" cy="387119"/>
            <a:chOff x="915" y="791"/>
            <a:chExt cx="2686" cy="23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91"/>
              <a:ext cx="2686" cy="23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2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" name="Slide Elements" hidden="1"/>
          <p:cNvGrpSpPr>
            <a:grpSpLocks/>
          </p:cNvGrpSpPr>
          <p:nvPr userDrawn="1"/>
        </p:nvGrpSpPr>
        <p:grpSpPr bwMode="auto">
          <a:xfrm>
            <a:off x="381009" y="6502092"/>
            <a:ext cx="8391517" cy="270106"/>
            <a:chOff x="172517" y="5882833"/>
            <a:chExt cx="8796540" cy="270106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17" y="5882833"/>
              <a:ext cx="8796540" cy="923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6675" indent="-66675">
                <a:defRPr/>
              </a:pPr>
              <a:r>
                <a:rPr lang="en-US" sz="6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172517" y="6060606"/>
              <a:ext cx="8252075" cy="923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260747" indent="-260747" defTabSz="671513">
                <a:tabLst>
                  <a:tab pos="259556" algn="l"/>
                </a:tabLst>
              </a:pPr>
              <a:r>
                <a:rPr lang="en-US" sz="6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 userDrawn="1"/>
        </p:nvSpPr>
        <p:spPr bwMode="auto">
          <a:xfrm>
            <a:off x="8676344" y="6679867"/>
            <a:ext cx="96181" cy="92333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600" smtClean="0"/>
              <a:pPr lvl="0" algn="r"/>
              <a:t>‹#›</a:t>
            </a:fld>
            <a:endParaRPr lang="en-US" sz="600" dirty="0"/>
          </a:p>
        </p:txBody>
      </p:sp>
      <p:sp>
        <p:nvSpPr>
          <p:cNvPr id="74" name="Rectangle 73" descr="&lt;Shell Yellow Bar&gt;" title="&lt;Shell Yellow Bar&gt;"/>
          <p:cNvSpPr/>
          <p:nvPr userDrawn="1"/>
        </p:nvSpPr>
        <p:spPr bwMode="auto">
          <a:xfrm>
            <a:off x="381008" y="508000"/>
            <a:ext cx="952488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schemeClr val="tx1"/>
              </a:solidFill>
            </a:endParaRPr>
          </a:p>
        </p:txBody>
      </p:sp>
      <p:grpSp>
        <p:nvGrpSpPr>
          <p:cNvPr id="93" name="LegendBoxes" hidden="1"/>
          <p:cNvGrpSpPr/>
          <p:nvPr userDrawn="1"/>
        </p:nvGrpSpPr>
        <p:grpSpPr bwMode="auto">
          <a:xfrm>
            <a:off x="8236978" y="674086"/>
            <a:ext cx="536749" cy="984251"/>
            <a:chOff x="7835905" y="279400"/>
            <a:chExt cx="715665" cy="984251"/>
          </a:xfrm>
        </p:grpSpPr>
        <p:sp>
          <p:nvSpPr>
            <p:cNvPr id="9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350" baseline="0" dirty="0">
                <a:latin typeface="+mn-lt"/>
                <a:ea typeface="+mn-ea"/>
              </a:endParaRPr>
            </a:p>
          </p:txBody>
        </p:sp>
        <p:sp>
          <p:nvSpPr>
            <p:cNvPr id="9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350" baseline="0" dirty="0">
                <a:latin typeface="+mn-lt"/>
                <a:ea typeface="+mn-ea"/>
              </a:endParaRPr>
            </a:p>
          </p:txBody>
        </p:sp>
        <p:sp>
          <p:nvSpPr>
            <p:cNvPr id="9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350" baseline="0" dirty="0">
                <a:latin typeface="+mn-lt"/>
                <a:ea typeface="+mn-ea"/>
              </a:endParaRPr>
            </a:p>
          </p:txBody>
        </p:sp>
        <p:sp>
          <p:nvSpPr>
            <p:cNvPr id="9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350" baseline="0" dirty="0">
                <a:latin typeface="+mn-lt"/>
                <a:ea typeface="+mn-ea"/>
              </a:endParaRPr>
            </a:p>
          </p:txBody>
        </p:sp>
        <p:sp>
          <p:nvSpPr>
            <p:cNvPr id="9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61665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61665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61665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61665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2" name="LegendLines" hidden="1"/>
          <p:cNvGrpSpPr/>
          <p:nvPr userDrawn="1"/>
        </p:nvGrpSpPr>
        <p:grpSpPr bwMode="auto">
          <a:xfrm>
            <a:off x="8005997" y="674085"/>
            <a:ext cx="767730" cy="684600"/>
            <a:chOff x="7540629" y="279400"/>
            <a:chExt cx="1023640" cy="684600"/>
          </a:xfrm>
        </p:grpSpPr>
        <p:sp>
          <p:nvSpPr>
            <p:cNvPr id="10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350" baseline="0" dirty="0">
                <a:latin typeface="+mn-lt"/>
                <a:ea typeface="+mn-ea"/>
              </a:endParaRPr>
            </a:p>
          </p:txBody>
        </p:sp>
        <p:sp>
          <p:nvSpPr>
            <p:cNvPr id="10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350" baseline="0" dirty="0">
                <a:latin typeface="+mn-lt"/>
                <a:ea typeface="+mn-ea"/>
              </a:endParaRPr>
            </a:p>
          </p:txBody>
        </p:sp>
        <p:sp>
          <p:nvSpPr>
            <p:cNvPr id="10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350" baseline="0" dirty="0">
                <a:latin typeface="+mn-lt"/>
                <a:ea typeface="+mn-ea"/>
              </a:endParaRPr>
            </a:p>
          </p:txBody>
        </p:sp>
        <p:sp>
          <p:nvSpPr>
            <p:cNvPr id="10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61665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61665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61665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9" name="LegendMoons" hidden="1"/>
          <p:cNvGrpSpPr/>
          <p:nvPr userDrawn="1"/>
        </p:nvGrpSpPr>
        <p:grpSpPr bwMode="auto">
          <a:xfrm>
            <a:off x="8186972" y="674085"/>
            <a:ext cx="586755" cy="1306516"/>
            <a:chOff x="7769225" y="250825"/>
            <a:chExt cx="782340" cy="1306516"/>
          </a:xfrm>
        </p:grpSpPr>
        <p:grpSp>
          <p:nvGrpSpPr>
            <p:cNvPr id="11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35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35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35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35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35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35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35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35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2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35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35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61665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61665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61665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61665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61665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GB" sz="9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5" name="McKSticker" hidden="1"/>
          <p:cNvGrpSpPr/>
          <p:nvPr userDrawn="1"/>
        </p:nvGrpSpPr>
        <p:grpSpPr bwMode="auto">
          <a:xfrm>
            <a:off x="8470716" y="739933"/>
            <a:ext cx="301814" cy="120033"/>
            <a:chOff x="8338357" y="285750"/>
            <a:chExt cx="402418" cy="120033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auto">
            <a:xfrm>
              <a:off x="8338357" y="285750"/>
              <a:ext cx="402418" cy="12003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71513">
                <a:buClr>
                  <a:srgbClr val="002960"/>
                </a:buClr>
              </a:pPr>
              <a:r>
                <a:rPr lang="en-GB" sz="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7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auto">
            <a:xfrm>
              <a:off x="8338357" y="285750"/>
              <a:ext cx="0" cy="120033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auto">
            <a:xfrm>
              <a:off x="8338357" y="405783"/>
              <a:ext cx="40241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0" name="Moon" hidden="1"/>
          <p:cNvGrpSpPr/>
          <p:nvPr userDrawn="1">
            <p:custDataLst>
              <p:tags r:id="rId8"/>
            </p:custDataLst>
          </p:nvPr>
        </p:nvGrpSpPr>
        <p:grpSpPr bwMode="auto">
          <a:xfrm>
            <a:off x="7650726" y="1404852"/>
            <a:ext cx="190500" cy="254000"/>
            <a:chOff x="762000" y="1270000"/>
            <a:chExt cx="254000" cy="254000"/>
          </a:xfrm>
        </p:grpSpPr>
        <p:sp>
          <p:nvSpPr>
            <p:cNvPr id="131" name="Oval 130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 err="1">
                <a:solidFill>
                  <a:schemeClr val="tx1"/>
                </a:solidFill>
              </a:endParaRPr>
            </a:p>
          </p:txBody>
        </p:sp>
        <p:sp>
          <p:nvSpPr>
            <p:cNvPr id="132" name="Arc 131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</p:spTree>
    <p:extLst>
      <p:ext uri="{BB962C8B-B14F-4D97-AF65-F5344CB8AC3E}">
        <p14:creationId xmlns:p14="http://schemas.microsoft.com/office/powerpoint/2010/main" val="3829927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5" r:id="rId3"/>
    <p:sldLayoutId id="2147483706" r:id="rId4"/>
  </p:sldLayoutIdLst>
  <p:hf hdr="0" ftr="0" dt="0"/>
  <p:txStyles>
    <p:titleStyle>
      <a:lvl1pPr algn="l" defTabSz="685145" rtl="0" eaLnBrk="1" fontAlgn="base" hangingPunct="1">
        <a:spcBef>
          <a:spcPct val="0"/>
        </a:spcBef>
        <a:spcAft>
          <a:spcPct val="0"/>
        </a:spcAft>
        <a:tabLst>
          <a:tab pos="206515" algn="l"/>
        </a:tabLst>
        <a:defRPr sz="1650" b="1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2pPr>
      <a:lvl3pPr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3pPr>
      <a:lvl4pPr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4pPr>
      <a:lvl5pPr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5pPr>
      <a:lvl6pPr marL="349861"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6pPr>
      <a:lvl7pPr marL="699722"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7pPr>
      <a:lvl8pPr marL="1049582"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8pPr>
      <a:lvl9pPr marL="1399444"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48205" indent="-14699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349861" indent="-200441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470126" indent="-11905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9861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99722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49582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99444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49305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99165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49026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98887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22">
          <p15:clr>
            <a:srgbClr val="F26B43"/>
          </p15:clr>
        </p15:guide>
        <p15:guide id="2" pos="312">
          <p15:clr>
            <a:srgbClr val="F26B43"/>
          </p15:clr>
        </p15:guide>
        <p15:guide id="3" pos="7368">
          <p15:clr>
            <a:srgbClr val="F26B43"/>
          </p15:clr>
        </p15:guide>
        <p15:guide id="4" orient="horz" pos="42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FAAB9B5-1875-473C-B301-2BBA5D6708FD}"/>
              </a:ext>
            </a:extLst>
          </p:cNvPr>
          <p:cNvSpPr txBox="1">
            <a:spLocks/>
          </p:cNvSpPr>
          <p:nvPr/>
        </p:nvSpPr>
        <p:spPr bwMode="auto">
          <a:xfrm>
            <a:off x="167529" y="599642"/>
            <a:ext cx="8691514" cy="488936"/>
          </a:xfrm>
          <a:prstGeom prst="rect">
            <a:avLst/>
          </a:prstGeom>
          <a:solidFill>
            <a:srgbClr val="FFC000"/>
          </a:solidFill>
          <a:ln w="28575" algn="ctr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/>
              <a:t>LAND TRANSPORT SERVICE IMPROVEMENT DELIVER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69B71A2-3F2E-4154-84EF-1B4B9EA49AC1}"/>
              </a:ext>
            </a:extLst>
          </p:cNvPr>
          <p:cNvSpPr txBox="1"/>
          <p:nvPr/>
        </p:nvSpPr>
        <p:spPr>
          <a:xfrm>
            <a:off x="252549" y="1036320"/>
            <a:ext cx="8508275" cy="48245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200000"/>
              </a:lnSpc>
            </a:pPr>
            <a:r>
              <a:rPr lang="en-US" sz="1100" b="1" u="sng" dirty="0">
                <a:latin typeface="Cambria" panose="02040503050406030204" pitchFamily="18" charset="0"/>
              </a:rPr>
              <a:t>KPI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US" sz="1100" dirty="0">
                <a:latin typeface="Cambria" panose="02040503050406030204" pitchFamily="18" charset="0"/>
              </a:rPr>
              <a:t>Improvement of customer service satisfaction from 65% to 95% by Q2 2018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US" sz="1100" dirty="0">
                <a:latin typeface="Cambria" panose="02040503050406030204" pitchFamily="18" charset="0"/>
              </a:rPr>
              <a:t>On-time Delivery ( Light and Heavy Fleet): </a:t>
            </a:r>
            <a:r>
              <a:rPr lang="en-US" sz="1100" b="1" dirty="0">
                <a:latin typeface="Cambria" panose="02040503050406030204" pitchFamily="18" charset="0"/>
              </a:rPr>
              <a:t>65% - 95%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US" sz="1100" dirty="0">
                <a:latin typeface="Cambria" panose="02040503050406030204" pitchFamily="18" charset="0"/>
              </a:rPr>
              <a:t>Effective Communication ( Drivers and Journey Managers) </a:t>
            </a:r>
            <a:r>
              <a:rPr lang="en-US" sz="1100" b="1" dirty="0">
                <a:latin typeface="Cambria" panose="02040503050406030204" pitchFamily="18" charset="0"/>
              </a:rPr>
              <a:t>60% - 95%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US" sz="1100" dirty="0">
                <a:latin typeface="Cambria" panose="02040503050406030204" pitchFamily="18" charset="0"/>
              </a:rPr>
              <a:t>Quality of Delivery (Cleanliness of  Equipment &amp; Drivers) </a:t>
            </a:r>
            <a:r>
              <a:rPr lang="en-US" sz="1100" b="1" dirty="0">
                <a:latin typeface="Cambria" panose="02040503050406030204" pitchFamily="18" charset="0"/>
              </a:rPr>
              <a:t>65%- 95%</a:t>
            </a:r>
          </a:p>
          <a:p>
            <a:pPr>
              <a:lnSpc>
                <a:spcPct val="200000"/>
              </a:lnSpc>
            </a:pPr>
            <a:r>
              <a:rPr lang="en-US" sz="1100" b="1" u="sng" dirty="0">
                <a:latin typeface="Cambria" panose="02040503050406030204" pitchFamily="18" charset="0"/>
              </a:rPr>
              <a:t>DELIVERY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US" sz="1100" dirty="0">
                <a:latin typeface="Cambria" panose="02040503050406030204" pitchFamily="18" charset="0"/>
              </a:rPr>
              <a:t>On-time delivery in Land transport has improved from 60% to 95 % by 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US" sz="1100" dirty="0">
                <a:latin typeface="Cambria" panose="02040503050406030204" pitchFamily="18" charset="0"/>
              </a:rPr>
              <a:t>a vehicle cleaning schedule SOP has been created  for both light and heavy fleet to improve cleanliness of fleet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US" sz="1100" dirty="0">
                <a:latin typeface="Cambria" panose="02040503050406030204" pitchFamily="18" charset="0"/>
              </a:rPr>
              <a:t>Refurbishment of 22 coaster buses ( 5 currently achieved).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US" sz="1100" dirty="0">
                <a:latin typeface="Cambria" panose="02040503050406030204" pitchFamily="18" charset="0"/>
              </a:rPr>
              <a:t>Daily huddle in the light fleet section on on-time delivery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US" sz="1100" dirty="0">
                <a:latin typeface="Cambria" panose="02040503050406030204" pitchFamily="18" charset="0"/>
              </a:rPr>
              <a:t>Creation of the daily on-time delivery template used  in land transport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US" sz="1100" dirty="0">
                <a:latin typeface="Cambria" panose="02040503050406030204" pitchFamily="18" charset="0"/>
              </a:rPr>
              <a:t>Proposed the usage of an online feedback template which is used to track daily customer service feedback.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US" sz="1100" dirty="0">
                <a:latin typeface="Cambria" panose="02040503050406030204" pitchFamily="18" charset="0"/>
              </a:rPr>
              <a:t>Trainings of 100+journey managers and supervisors in Lagos, PHC, Warri and other field locations on Customer Service Delivery.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US" sz="1100" dirty="0">
                <a:latin typeface="Cambria" panose="02040503050406030204" pitchFamily="18" charset="0"/>
              </a:rPr>
              <a:t>Creation of communication template for all drivers to engage customers.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US" sz="1100" dirty="0">
                <a:latin typeface="Cambria" panose="02040503050406030204" pitchFamily="18" charset="0"/>
              </a:rPr>
              <a:t>Creation of shuttle bus manifest which is used in all locations.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endParaRPr lang="en-US" sz="1100" dirty="0">
              <a:latin typeface="Cambria" panose="020405030504060302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4CEABA7-F252-4179-BBCC-A45A5719326D}"/>
              </a:ext>
            </a:extLst>
          </p:cNvPr>
          <p:cNvSpPr txBox="1"/>
          <p:nvPr/>
        </p:nvSpPr>
        <p:spPr>
          <a:xfrm>
            <a:off x="502276" y="6542468"/>
            <a:ext cx="45719" cy="457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7800" indent="-177800">
              <a:lnSpc>
                <a:spcPct val="113000"/>
              </a:lnSpc>
              <a:spcAft>
                <a:spcPts val="60"/>
              </a:spcAft>
              <a:buFont typeface="Wingdings"/>
              <a:buChar char="n"/>
            </a:pPr>
            <a:endParaRPr lang="en-US" sz="16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B1759B7-202A-4C10-B299-C6EA9760E9BC}"/>
              </a:ext>
            </a:extLst>
          </p:cNvPr>
          <p:cNvSpPr txBox="1"/>
          <p:nvPr/>
        </p:nvSpPr>
        <p:spPr>
          <a:xfrm>
            <a:off x="4580287" y="6297769"/>
            <a:ext cx="45719" cy="457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7800" indent="-177800">
              <a:lnSpc>
                <a:spcPct val="113000"/>
              </a:lnSpc>
              <a:spcAft>
                <a:spcPts val="60"/>
              </a:spcAft>
              <a:buFont typeface="Wingdings"/>
              <a:buChar char="n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971367206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Shell layouts with footer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77800" indent="-177800">
          <a:lnSpc>
            <a:spcPct val="113000"/>
          </a:lnSpc>
          <a:spcAft>
            <a:spcPts val="60"/>
          </a:spcAft>
          <a:buFont typeface="Wingdings"/>
          <a:buChar char="n"/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hell Template - Presentation Mode New v14.potx" id="{6866CFAD-083A-4319-941B-C5C53D83E3CE}" vid="{22E1D647-2C7A-4302-A7A8-C281F9C253E9}"/>
    </a:ext>
  </a:extLst>
</a:theme>
</file>

<file path=ppt/theme/theme2.xml><?xml version="1.0" encoding="utf-8"?>
<a:theme xmlns:a="http://schemas.openxmlformats.org/drawingml/2006/main" name="10_Shell_CF_RDS598">
  <a:themeElements>
    <a:clrScheme name="Current">
      <a:dk1>
        <a:srgbClr val="595959"/>
      </a:dk1>
      <a:lt1>
        <a:srgbClr val="FFFFFF"/>
      </a:lt1>
      <a:dk2>
        <a:srgbClr val="DD1D21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808080"/>
      </a:accent6>
      <a:hlink>
        <a:srgbClr val="003C88"/>
      </a:hlink>
      <a:folHlink>
        <a:srgbClr val="641964"/>
      </a:folHlink>
    </a:clrScheme>
    <a:fontScheme name="Custom 40">
      <a:majorFont>
        <a:latin typeface="Futura Bold"/>
        <a:ea typeface="ＭＳ Ｐゴシック"/>
        <a:cs typeface=""/>
      </a:majorFont>
      <a:minorFont>
        <a:latin typeface="Futura Mediu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95959"/>
        </a:dk1>
        <a:lt1>
          <a:srgbClr val="FFFFFF"/>
        </a:lt1>
        <a:dk2>
          <a:srgbClr val="DD1D21"/>
        </a:dk2>
        <a:lt2>
          <a:srgbClr val="D9D9D9"/>
        </a:lt2>
        <a:accent1>
          <a:srgbClr val="FBCE07"/>
        </a:accent1>
        <a:accent2>
          <a:srgbClr val="DD1D21"/>
        </a:accent2>
        <a:accent3>
          <a:srgbClr val="003C88"/>
        </a:accent3>
        <a:accent4>
          <a:srgbClr val="641964"/>
        </a:accent4>
        <a:accent5>
          <a:srgbClr val="008443"/>
        </a:accent5>
        <a:accent6>
          <a:srgbClr val="808080"/>
        </a:accent6>
        <a:hlink>
          <a:srgbClr val="003C88"/>
        </a:hlink>
        <a:folHlink>
          <a:srgbClr val="6419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hell_CF_RDS598.potx" id="{BBEC8305-3715-4CE6-8699-B28A10179CF1}" vid="{7341CF39-6A8E-487C-9B02-3592AEE52BE5}"/>
    </a:ext>
  </a:extLst>
</a:theme>
</file>

<file path=ppt/theme/theme3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Shell Colour Palette">
      <a:dk1>
        <a:srgbClr val="595959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0000"/>
      </a:hlink>
      <a:folHlink>
        <a:srgbClr val="000000"/>
      </a:folHlink>
    </a:clrScheme>
    <a:fontScheme name="Shell Theme Fonts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613</TotalTime>
  <Words>190</Words>
  <Application>Microsoft Office PowerPoint</Application>
  <PresentationFormat>On-screen Show (4:3)</PresentationFormat>
  <Paragraphs>1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Futura Medium</vt:lpstr>
      <vt:lpstr>Arial Unicode MS</vt:lpstr>
      <vt:lpstr>Cambria</vt:lpstr>
      <vt:lpstr>Futura Bold</vt:lpstr>
      <vt:lpstr>MS PGothic</vt:lpstr>
      <vt:lpstr>Arial</vt:lpstr>
      <vt:lpstr>Wingdings</vt:lpstr>
      <vt:lpstr>Shell layouts with footer</vt:lpstr>
      <vt:lpstr>10_Shell_CF_RDS598</vt:lpstr>
      <vt:lpstr>think-cell Slide</vt:lpstr>
      <vt:lpstr>PowerPoint Presentation</vt:lpstr>
    </vt:vector>
  </TitlesOfParts>
  <Company>She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hell</dc:creator>
  <cp:lastModifiedBy>Awotorebo, Gbolahan M SNEPCO-UPO/G/PSLW</cp:lastModifiedBy>
  <cp:revision>803</cp:revision>
  <cp:lastPrinted>2018-03-19T13:00:37Z</cp:lastPrinted>
  <dcterms:created xsi:type="dcterms:W3CDTF">2009-11-25T14:32:06Z</dcterms:created>
  <dcterms:modified xsi:type="dcterms:W3CDTF">2018-04-04T15:10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Onscreen</vt:lpwstr>
  </property>
  <property fmtid="{D5CDD505-2E9C-101B-9397-08002B2CF9AE}" pid="3" name="WizKit Template Version">
    <vt:i4>4</vt:i4>
  </property>
</Properties>
</file>